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mov" ContentType="video/quicktime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handoutMasterIdLst>
    <p:handoutMasterId r:id="rId31"/>
  </p:handoutMasterIdLst>
  <p:sldIdLst>
    <p:sldId id="380" r:id="rId2"/>
    <p:sldId id="453" r:id="rId3"/>
    <p:sldId id="505" r:id="rId4"/>
    <p:sldId id="503" r:id="rId5"/>
    <p:sldId id="499" r:id="rId6"/>
    <p:sldId id="492" r:id="rId7"/>
    <p:sldId id="454" r:id="rId8"/>
    <p:sldId id="506" r:id="rId9"/>
    <p:sldId id="486" r:id="rId10"/>
    <p:sldId id="488" r:id="rId11"/>
    <p:sldId id="489" r:id="rId12"/>
    <p:sldId id="487" r:id="rId13"/>
    <p:sldId id="490" r:id="rId14"/>
    <p:sldId id="456" r:id="rId15"/>
    <p:sldId id="501" r:id="rId16"/>
    <p:sldId id="477" r:id="rId17"/>
    <p:sldId id="479" r:id="rId18"/>
    <p:sldId id="493" r:id="rId19"/>
    <p:sldId id="491" r:id="rId20"/>
    <p:sldId id="494" r:id="rId21"/>
    <p:sldId id="458" r:id="rId22"/>
    <p:sldId id="485" r:id="rId23"/>
    <p:sldId id="507" r:id="rId24"/>
    <p:sldId id="474" r:id="rId25"/>
    <p:sldId id="455" r:id="rId26"/>
    <p:sldId id="473" r:id="rId27"/>
    <p:sldId id="497" r:id="rId28"/>
    <p:sldId id="498" r:id="rId29"/>
  </p:sldIdLst>
  <p:sldSz cx="9144000" cy="6858000" type="screen4x3"/>
  <p:notesSz cx="68580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164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113" userDrawn="1">
          <p15:clr>
            <a:srgbClr val="A4A3A4"/>
          </p15:clr>
        </p15:guide>
        <p15:guide id="5" pos="2212" userDrawn="1">
          <p15:clr>
            <a:srgbClr val="A4A3A4"/>
          </p15:clr>
        </p15:guide>
        <p15:guide id="6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79" autoAdjust="0"/>
    <p:restoredTop sz="86384" autoAdjust="0"/>
  </p:normalViewPr>
  <p:slideViewPr>
    <p:cSldViewPr>
      <p:cViewPr varScale="1">
        <p:scale>
          <a:sx n="101" d="100"/>
          <a:sy n="101" d="100"/>
        </p:scale>
        <p:origin x="2232" y="2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3264" y="72"/>
      </p:cViewPr>
      <p:guideLst>
        <p:guide orient="horz" pos="2932"/>
        <p:guide pos="2164"/>
        <p:guide orient="horz" pos="2928"/>
        <p:guide pos="2113"/>
        <p:guide pos="2212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5BD7D7-0443-4B05-AE91-FF124500EBCA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7BB60C-E717-4559-86A3-695404694E85}">
      <dgm:prSet phldrT="[Text]" custT="1"/>
      <dgm:spPr>
        <a:solidFill>
          <a:schemeClr val="accent5">
            <a:lumMod val="25000"/>
          </a:schemeClr>
        </a:solidFill>
      </dgm:spPr>
      <dgm:t>
        <a:bodyPr/>
        <a:lstStyle/>
        <a:p>
          <a:r>
            <a:rPr lang="en-US" sz="1600" b="0" dirty="0" smtClean="0">
              <a:latin typeface="+mn-lt"/>
            </a:rPr>
            <a:t>Optimal Service Delivery </a:t>
          </a:r>
          <a:endParaRPr lang="en-US" sz="1600" b="0" dirty="0">
            <a:latin typeface="+mn-lt"/>
          </a:endParaRPr>
        </a:p>
      </dgm:t>
    </dgm:pt>
    <dgm:pt modelId="{1BC304DA-6840-4424-84A3-BE6C73189B7B}" type="parTrans" cxnId="{85078D01-FB97-43ED-A322-077DF2D7252B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8C9A32CA-2BC2-49A3-A0B0-DCB5EA2BF52A}" type="sibTrans" cxnId="{85078D01-FB97-43ED-A322-077DF2D7252B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0270D41E-2F5C-46E9-B1BF-5276BC305BFF}">
      <dgm:prSet phldrT="[Text]" custT="1"/>
      <dgm:spPr/>
      <dgm:t>
        <a:bodyPr/>
        <a:lstStyle/>
        <a:p>
          <a:r>
            <a:rPr lang="en-US" sz="1600" b="0" dirty="0" smtClean="0">
              <a:solidFill>
                <a:schemeClr val="tx1"/>
              </a:solidFill>
              <a:latin typeface="+mn-lt"/>
            </a:rPr>
            <a:t>Planned schedule</a:t>
          </a:r>
          <a:endParaRPr lang="en-US" sz="1600" b="0" dirty="0">
            <a:solidFill>
              <a:schemeClr val="tx1"/>
            </a:solidFill>
            <a:latin typeface="+mn-lt"/>
          </a:endParaRPr>
        </a:p>
      </dgm:t>
    </dgm:pt>
    <dgm:pt modelId="{DE1A8942-DC29-4BDC-BCD7-BE886B6C76AF}" type="parTrans" cxnId="{53C184AE-4540-46EE-8271-6B16DAF8372E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160B660F-DB29-402A-81F1-9D7F47A9D70B}" type="sibTrans" cxnId="{53C184AE-4540-46EE-8271-6B16DAF8372E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634750D9-2D57-4CCD-B853-9A2282019358}">
      <dgm:prSet phldrT="[Text]" custT="1"/>
      <dgm:spPr/>
      <dgm:t>
        <a:bodyPr/>
        <a:lstStyle/>
        <a:p>
          <a:r>
            <a:rPr lang="en-US" sz="1600" b="0" dirty="0" smtClean="0">
              <a:solidFill>
                <a:schemeClr val="tx1"/>
              </a:solidFill>
              <a:latin typeface="+mn-lt"/>
            </a:rPr>
            <a:t>Dispatch efficiency</a:t>
          </a:r>
          <a:endParaRPr lang="en-US" sz="1600" b="0" dirty="0">
            <a:solidFill>
              <a:schemeClr val="tx1"/>
            </a:solidFill>
            <a:latin typeface="+mn-lt"/>
          </a:endParaRPr>
        </a:p>
      </dgm:t>
    </dgm:pt>
    <dgm:pt modelId="{1415A58B-68A6-4ED6-83EB-E9BDCC81F1A3}" type="parTrans" cxnId="{5411A68B-58E0-43F6-A23C-B8E28151BD20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330D3170-6710-4566-BA11-9056E1D9EE3B}" type="sibTrans" cxnId="{5411A68B-58E0-43F6-A23C-B8E28151BD20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CBC00D2F-BDFD-4D95-A131-9053ECD263D6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sz="1600" b="0" dirty="0" smtClean="0">
              <a:latin typeface="+mn-lt"/>
            </a:rPr>
            <a:t>Carrying Capacity</a:t>
          </a:r>
          <a:endParaRPr lang="en-US" sz="1600" b="0" dirty="0">
            <a:latin typeface="+mn-lt"/>
          </a:endParaRPr>
        </a:p>
      </dgm:t>
    </dgm:pt>
    <dgm:pt modelId="{D0E873C2-0D34-4EAC-BA4F-88D974E6C97D}" type="parTrans" cxnId="{BE77E5F4-257B-4C75-9576-225CD0328F96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293E17DF-872B-4B5E-98DF-945A442DEE26}" type="sibTrans" cxnId="{BE77E5F4-257B-4C75-9576-225CD0328F96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BF4B3FD2-9BC4-42C4-90C6-E46464C77B76}">
      <dgm:prSet phldrT="[Text]" custT="1"/>
      <dgm:spPr/>
      <dgm:t>
        <a:bodyPr/>
        <a:lstStyle/>
        <a:p>
          <a:r>
            <a:rPr lang="en-US" sz="1600" b="0" dirty="0" smtClean="0">
              <a:solidFill>
                <a:schemeClr val="tx1"/>
              </a:solidFill>
              <a:latin typeface="+mn-lt"/>
            </a:rPr>
            <a:t>External constraints</a:t>
          </a:r>
          <a:endParaRPr lang="en-US" sz="1600" b="0" dirty="0">
            <a:solidFill>
              <a:schemeClr val="tx1"/>
            </a:solidFill>
            <a:latin typeface="+mn-lt"/>
          </a:endParaRPr>
        </a:p>
      </dgm:t>
    </dgm:pt>
    <dgm:pt modelId="{DC3B93D7-B7F4-4015-A3AF-0823520FAC9C}" type="parTrans" cxnId="{827036C6-49CB-47F1-ADB7-A5E9A1BED26C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EDC352F5-BBFB-49C6-9CDF-E3459FAAF957}" type="sibTrans" cxnId="{827036C6-49CB-47F1-ADB7-A5E9A1BED26C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ECC608C5-C409-48B6-B9DC-BC13534589FF}">
      <dgm:prSet custT="1"/>
      <dgm:spPr/>
      <dgm:t>
        <a:bodyPr/>
        <a:lstStyle/>
        <a:p>
          <a:r>
            <a:rPr lang="en-US" sz="1600" b="0" dirty="0" smtClean="0">
              <a:solidFill>
                <a:schemeClr val="tx1"/>
              </a:solidFill>
              <a:latin typeface="+mn-lt"/>
            </a:rPr>
            <a:t>Infrastructure upgrades</a:t>
          </a:r>
          <a:endParaRPr lang="en-US" sz="1600" b="0" dirty="0">
            <a:solidFill>
              <a:schemeClr val="tx1"/>
            </a:solidFill>
            <a:latin typeface="+mn-lt"/>
          </a:endParaRPr>
        </a:p>
      </dgm:t>
    </dgm:pt>
    <dgm:pt modelId="{8602E0CF-76F0-46A1-8F32-834ABFD4EC6A}" type="parTrans" cxnId="{AE2E9DA9-1C98-4E79-9B73-E0B946D1F1F9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10B82749-E4EF-4734-AAFD-75870772D579}" type="sibTrans" cxnId="{AE2E9DA9-1C98-4E79-9B73-E0B946D1F1F9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7CDA3D16-9FCF-4FDD-A589-9CB932E4E7DF}">
      <dgm:prSet custT="1"/>
      <dgm:spPr/>
      <dgm:t>
        <a:bodyPr/>
        <a:lstStyle/>
        <a:p>
          <a:r>
            <a:rPr lang="en-US" sz="1600" b="0" dirty="0" smtClean="0">
              <a:solidFill>
                <a:schemeClr val="tx1"/>
              </a:solidFill>
              <a:latin typeface="+mn-lt"/>
            </a:rPr>
            <a:t>Vehicle design and quantity</a:t>
          </a:r>
        </a:p>
      </dgm:t>
    </dgm:pt>
    <dgm:pt modelId="{C4FB0A1C-6763-48EC-9872-C48D3DC76563}" type="parTrans" cxnId="{73DB97C1-A539-4D6A-9C54-30D18DB75459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2D037956-F9BA-4369-82F0-DD8A9376D369}" type="sibTrans" cxnId="{73DB97C1-A539-4D6A-9C54-30D18DB75459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00B5D95F-C1FC-4EA4-9E16-9BD2070AAB06}">
      <dgm:prSet custT="1"/>
      <dgm:spPr/>
      <dgm:t>
        <a:bodyPr/>
        <a:lstStyle/>
        <a:p>
          <a:r>
            <a:rPr lang="en-US" sz="1600" b="0" dirty="0" smtClean="0">
              <a:solidFill>
                <a:schemeClr val="tx1"/>
              </a:solidFill>
              <a:latin typeface="+mn-lt"/>
            </a:rPr>
            <a:t>Improve run time</a:t>
          </a:r>
          <a:endParaRPr lang="en-US" sz="1600" b="0" dirty="0">
            <a:solidFill>
              <a:schemeClr val="tx1"/>
            </a:solidFill>
            <a:latin typeface="+mn-lt"/>
          </a:endParaRPr>
        </a:p>
      </dgm:t>
    </dgm:pt>
    <dgm:pt modelId="{EABBEF43-7B6B-4AFC-98CE-333DFF08DB99}" type="parTrans" cxnId="{DE69C7EB-1FC9-4116-B159-47C82598A17E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38F01D81-0BBC-4485-822E-83E617EF5D69}" type="sibTrans" cxnId="{DE69C7EB-1FC9-4116-B159-47C82598A17E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BBD58C85-F27E-4953-9E1D-B4BEEE17AB6F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sz="1600" b="0" dirty="0" smtClean="0">
              <a:latin typeface="+mn-lt"/>
            </a:rPr>
            <a:t>Reliability</a:t>
          </a:r>
          <a:endParaRPr lang="en-US" sz="1600" b="0" dirty="0">
            <a:latin typeface="+mn-lt"/>
          </a:endParaRPr>
        </a:p>
      </dgm:t>
    </dgm:pt>
    <dgm:pt modelId="{45E19955-113C-49CF-8D99-62D3CD10E7AC}" type="sibTrans" cxnId="{866A4C35-ACA7-4D9C-BE8C-5623D76392FC}">
      <dgm:prSet/>
      <dgm:spPr/>
      <dgm:t>
        <a:bodyPr/>
        <a:lstStyle/>
        <a:p>
          <a:endParaRPr lang="en-US" sz="1600" b="0">
            <a:latin typeface="+mn-lt"/>
          </a:endParaRPr>
        </a:p>
      </dgm:t>
    </dgm:pt>
    <dgm:pt modelId="{E2703864-1F81-4E69-A666-FE4632F14162}" type="parTrans" cxnId="{866A4C35-ACA7-4D9C-BE8C-5623D76392FC}">
      <dgm:prSet custT="1"/>
      <dgm:spPr/>
      <dgm:t>
        <a:bodyPr/>
        <a:lstStyle/>
        <a:p>
          <a:endParaRPr lang="en-US" sz="1600" b="0" dirty="0">
            <a:latin typeface="+mn-lt"/>
          </a:endParaRPr>
        </a:p>
      </dgm:t>
    </dgm:pt>
    <dgm:pt modelId="{CD0562A0-224A-44E7-8BFB-EE065C88AEEB}" type="pres">
      <dgm:prSet presAssocID="{C35BD7D7-0443-4B05-AE91-FF124500EBCA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E161A51-60AD-4F08-AE65-98A949F2B514}" type="pres">
      <dgm:prSet presAssocID="{087BB60C-E717-4559-86A3-695404694E85}" presName="root1" presStyleCnt="0"/>
      <dgm:spPr/>
    </dgm:pt>
    <dgm:pt modelId="{2C511BB1-79F1-42EE-8312-208437BB2228}" type="pres">
      <dgm:prSet presAssocID="{087BB60C-E717-4559-86A3-695404694E85}" presName="LevelOneTextNode" presStyleLbl="node0" presStyleIdx="0" presStyleCnt="1" custScaleY="139321" custLinFactNeighborX="39419" custLinFactNeighborY="433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CFC90D0-D798-4E1B-94C6-6E27A6BA9F07}" type="pres">
      <dgm:prSet presAssocID="{087BB60C-E717-4559-86A3-695404694E85}" presName="level2hierChild" presStyleCnt="0"/>
      <dgm:spPr/>
    </dgm:pt>
    <dgm:pt modelId="{FC9F9868-865E-4D18-87F0-EE13709DB32D}" type="pres">
      <dgm:prSet presAssocID="{E2703864-1F81-4E69-A666-FE4632F14162}" presName="conn2-1" presStyleLbl="parChTrans1D2" presStyleIdx="0" presStyleCnt="2"/>
      <dgm:spPr/>
      <dgm:t>
        <a:bodyPr/>
        <a:lstStyle/>
        <a:p>
          <a:endParaRPr lang="en-US"/>
        </a:p>
      </dgm:t>
    </dgm:pt>
    <dgm:pt modelId="{F641C743-685F-4A9A-85F2-D6E3FCDF033E}" type="pres">
      <dgm:prSet presAssocID="{E2703864-1F81-4E69-A666-FE4632F14162}" presName="connTx" presStyleLbl="parChTrans1D2" presStyleIdx="0" presStyleCnt="2"/>
      <dgm:spPr/>
      <dgm:t>
        <a:bodyPr/>
        <a:lstStyle/>
        <a:p>
          <a:endParaRPr lang="en-US"/>
        </a:p>
      </dgm:t>
    </dgm:pt>
    <dgm:pt modelId="{8102C0BF-80CF-48EB-82C0-BAF86FDC8B9E}" type="pres">
      <dgm:prSet presAssocID="{BBD58C85-F27E-4953-9E1D-B4BEEE17AB6F}" presName="root2" presStyleCnt="0"/>
      <dgm:spPr/>
    </dgm:pt>
    <dgm:pt modelId="{01ED2A97-06D6-4F3C-957A-BC9BC5199136}" type="pres">
      <dgm:prSet presAssocID="{BBD58C85-F27E-4953-9E1D-B4BEEE17AB6F}" presName="LevelTwoTextNode" presStyleLbl="node2" presStyleIdx="0" presStyleCnt="2" custLinFactNeighborX="15705" custLinFactNeighborY="5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7D0304E-E07D-4CF5-BF58-8EC4B85D3EC9}" type="pres">
      <dgm:prSet presAssocID="{BBD58C85-F27E-4953-9E1D-B4BEEE17AB6F}" presName="level3hierChild" presStyleCnt="0"/>
      <dgm:spPr/>
    </dgm:pt>
    <dgm:pt modelId="{BD3F9E64-8E56-41FE-A29F-486F60B13512}" type="pres">
      <dgm:prSet presAssocID="{DE1A8942-DC29-4BDC-BCD7-BE886B6C76AF}" presName="conn2-1" presStyleLbl="parChTrans1D3" presStyleIdx="0" presStyleCnt="6"/>
      <dgm:spPr/>
      <dgm:t>
        <a:bodyPr/>
        <a:lstStyle/>
        <a:p>
          <a:endParaRPr lang="en-US"/>
        </a:p>
      </dgm:t>
    </dgm:pt>
    <dgm:pt modelId="{ABA924F7-E0F4-456B-9F7A-DAFCF1C25070}" type="pres">
      <dgm:prSet presAssocID="{DE1A8942-DC29-4BDC-BCD7-BE886B6C76AF}" presName="connTx" presStyleLbl="parChTrans1D3" presStyleIdx="0" presStyleCnt="6"/>
      <dgm:spPr/>
      <dgm:t>
        <a:bodyPr/>
        <a:lstStyle/>
        <a:p>
          <a:endParaRPr lang="en-US"/>
        </a:p>
      </dgm:t>
    </dgm:pt>
    <dgm:pt modelId="{383F99C5-1551-4F67-A6EC-E9B39DB8A34E}" type="pres">
      <dgm:prSet presAssocID="{0270D41E-2F5C-46E9-B1BF-5276BC305BFF}" presName="root2" presStyleCnt="0"/>
      <dgm:spPr/>
    </dgm:pt>
    <dgm:pt modelId="{390F56DE-1EFC-4DB0-B9AE-FC6C5B597D0B}" type="pres">
      <dgm:prSet presAssocID="{0270D41E-2F5C-46E9-B1BF-5276BC305BFF}" presName="LevelTwoTextNode" presStyleLbl="node3" presStyleIdx="0" presStyleCnt="6" custScaleX="128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EBF6A04-F471-4C47-953B-410149475CC9}" type="pres">
      <dgm:prSet presAssocID="{0270D41E-2F5C-46E9-B1BF-5276BC305BFF}" presName="level3hierChild" presStyleCnt="0"/>
      <dgm:spPr/>
    </dgm:pt>
    <dgm:pt modelId="{1FC0E11A-1209-460D-AFAD-EF2D987A0F99}" type="pres">
      <dgm:prSet presAssocID="{1415A58B-68A6-4ED6-83EB-E9BDCC81F1A3}" presName="conn2-1" presStyleLbl="parChTrans1D3" presStyleIdx="1" presStyleCnt="6"/>
      <dgm:spPr/>
      <dgm:t>
        <a:bodyPr/>
        <a:lstStyle/>
        <a:p>
          <a:endParaRPr lang="en-US"/>
        </a:p>
      </dgm:t>
    </dgm:pt>
    <dgm:pt modelId="{8DB305BA-67B5-47F4-B941-EC40F2D5084C}" type="pres">
      <dgm:prSet presAssocID="{1415A58B-68A6-4ED6-83EB-E9BDCC81F1A3}" presName="connTx" presStyleLbl="parChTrans1D3" presStyleIdx="1" presStyleCnt="6"/>
      <dgm:spPr/>
      <dgm:t>
        <a:bodyPr/>
        <a:lstStyle/>
        <a:p>
          <a:endParaRPr lang="en-US"/>
        </a:p>
      </dgm:t>
    </dgm:pt>
    <dgm:pt modelId="{72DF7E60-0617-4D7D-9E0B-655AF90BE13A}" type="pres">
      <dgm:prSet presAssocID="{634750D9-2D57-4CCD-B853-9A2282019358}" presName="root2" presStyleCnt="0"/>
      <dgm:spPr/>
    </dgm:pt>
    <dgm:pt modelId="{6E82C3E9-4CC1-4061-AF31-210351641777}" type="pres">
      <dgm:prSet presAssocID="{634750D9-2D57-4CCD-B853-9A2282019358}" presName="LevelTwoTextNode" presStyleLbl="node3" presStyleIdx="1" presStyleCnt="6" custScaleX="128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9FD6324-71A3-45B8-B695-F91EC8CAE391}" type="pres">
      <dgm:prSet presAssocID="{634750D9-2D57-4CCD-B853-9A2282019358}" presName="level3hierChild" presStyleCnt="0"/>
      <dgm:spPr/>
    </dgm:pt>
    <dgm:pt modelId="{FFE5EAA4-82C8-4DA4-AB50-559E310D95FE}" type="pres">
      <dgm:prSet presAssocID="{EABBEF43-7B6B-4AFC-98CE-333DFF08DB99}" presName="conn2-1" presStyleLbl="parChTrans1D3" presStyleIdx="2" presStyleCnt="6"/>
      <dgm:spPr/>
      <dgm:t>
        <a:bodyPr/>
        <a:lstStyle/>
        <a:p>
          <a:endParaRPr lang="en-US"/>
        </a:p>
      </dgm:t>
    </dgm:pt>
    <dgm:pt modelId="{6E7D68EE-7066-47E7-BAEA-4C930B8A8C3A}" type="pres">
      <dgm:prSet presAssocID="{EABBEF43-7B6B-4AFC-98CE-333DFF08DB99}" presName="connTx" presStyleLbl="parChTrans1D3" presStyleIdx="2" presStyleCnt="6"/>
      <dgm:spPr/>
      <dgm:t>
        <a:bodyPr/>
        <a:lstStyle/>
        <a:p>
          <a:endParaRPr lang="en-US"/>
        </a:p>
      </dgm:t>
    </dgm:pt>
    <dgm:pt modelId="{CD24C59B-7345-4381-AC0E-0365EF76225B}" type="pres">
      <dgm:prSet presAssocID="{00B5D95F-C1FC-4EA4-9E16-9BD2070AAB06}" presName="root2" presStyleCnt="0"/>
      <dgm:spPr/>
    </dgm:pt>
    <dgm:pt modelId="{292C3DB7-A146-4822-BFED-705E251839B5}" type="pres">
      <dgm:prSet presAssocID="{00B5D95F-C1FC-4EA4-9E16-9BD2070AAB06}" presName="LevelTwoTextNode" presStyleLbl="node3" presStyleIdx="2" presStyleCnt="6" custScaleX="128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09A79C1-6009-4EF1-9CC8-176B462F688D}" type="pres">
      <dgm:prSet presAssocID="{00B5D95F-C1FC-4EA4-9E16-9BD2070AAB06}" presName="level3hierChild" presStyleCnt="0"/>
      <dgm:spPr/>
    </dgm:pt>
    <dgm:pt modelId="{D97F5B25-B1D6-44BA-9AD5-2073DCFBFC39}" type="pres">
      <dgm:prSet presAssocID="{D0E873C2-0D34-4EAC-BA4F-88D974E6C97D}" presName="conn2-1" presStyleLbl="parChTrans1D2" presStyleIdx="1" presStyleCnt="2"/>
      <dgm:spPr/>
      <dgm:t>
        <a:bodyPr/>
        <a:lstStyle/>
        <a:p>
          <a:endParaRPr lang="en-US"/>
        </a:p>
      </dgm:t>
    </dgm:pt>
    <dgm:pt modelId="{DEB49EA3-BEB6-4CB2-A629-3121C8159335}" type="pres">
      <dgm:prSet presAssocID="{D0E873C2-0D34-4EAC-BA4F-88D974E6C97D}" presName="connTx" presStyleLbl="parChTrans1D2" presStyleIdx="1" presStyleCnt="2"/>
      <dgm:spPr/>
      <dgm:t>
        <a:bodyPr/>
        <a:lstStyle/>
        <a:p>
          <a:endParaRPr lang="en-US"/>
        </a:p>
      </dgm:t>
    </dgm:pt>
    <dgm:pt modelId="{5CC7CAD4-B895-4E3D-A3AD-906A720A6E33}" type="pres">
      <dgm:prSet presAssocID="{CBC00D2F-BDFD-4D95-A131-9053ECD263D6}" presName="root2" presStyleCnt="0"/>
      <dgm:spPr/>
    </dgm:pt>
    <dgm:pt modelId="{202B48CB-5A68-4CB8-A70C-E085CAB26DB8}" type="pres">
      <dgm:prSet presAssocID="{CBC00D2F-BDFD-4D95-A131-9053ECD263D6}" presName="LevelTwoTextNode" presStyleLbl="node2" presStyleIdx="1" presStyleCnt="2" custLinFactNeighborX="209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7C6574B-6247-4302-9973-A9F03CAD436B}" type="pres">
      <dgm:prSet presAssocID="{CBC00D2F-BDFD-4D95-A131-9053ECD263D6}" presName="level3hierChild" presStyleCnt="0"/>
      <dgm:spPr/>
    </dgm:pt>
    <dgm:pt modelId="{EE735B75-59E1-49A5-91B2-90022882B659}" type="pres">
      <dgm:prSet presAssocID="{DC3B93D7-B7F4-4015-A3AF-0823520FAC9C}" presName="conn2-1" presStyleLbl="parChTrans1D3" presStyleIdx="3" presStyleCnt="6"/>
      <dgm:spPr/>
      <dgm:t>
        <a:bodyPr/>
        <a:lstStyle/>
        <a:p>
          <a:endParaRPr lang="en-US"/>
        </a:p>
      </dgm:t>
    </dgm:pt>
    <dgm:pt modelId="{FBE1C7EE-1AA3-4133-A6E0-DCC57DF43EC6}" type="pres">
      <dgm:prSet presAssocID="{DC3B93D7-B7F4-4015-A3AF-0823520FAC9C}" presName="connTx" presStyleLbl="parChTrans1D3" presStyleIdx="3" presStyleCnt="6"/>
      <dgm:spPr/>
      <dgm:t>
        <a:bodyPr/>
        <a:lstStyle/>
        <a:p>
          <a:endParaRPr lang="en-US"/>
        </a:p>
      </dgm:t>
    </dgm:pt>
    <dgm:pt modelId="{F1178D81-43E7-47B0-B490-02960A8727B0}" type="pres">
      <dgm:prSet presAssocID="{BF4B3FD2-9BC4-42C4-90C6-E46464C77B76}" presName="root2" presStyleCnt="0"/>
      <dgm:spPr/>
    </dgm:pt>
    <dgm:pt modelId="{8E430327-E5ED-487C-ABF9-D526B49EB779}" type="pres">
      <dgm:prSet presAssocID="{BF4B3FD2-9BC4-42C4-90C6-E46464C77B76}" presName="LevelTwoTextNode" presStyleLbl="node3" presStyleIdx="3" presStyleCnt="6" custScaleX="128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31E67DA-A2A5-44DD-95F9-C27A4CE5F8FA}" type="pres">
      <dgm:prSet presAssocID="{BF4B3FD2-9BC4-42C4-90C6-E46464C77B76}" presName="level3hierChild" presStyleCnt="0"/>
      <dgm:spPr/>
    </dgm:pt>
    <dgm:pt modelId="{22454FD9-4E5F-479C-ADBE-22339052B2E3}" type="pres">
      <dgm:prSet presAssocID="{8602E0CF-76F0-46A1-8F32-834ABFD4EC6A}" presName="conn2-1" presStyleLbl="parChTrans1D3" presStyleIdx="4" presStyleCnt="6"/>
      <dgm:spPr/>
      <dgm:t>
        <a:bodyPr/>
        <a:lstStyle/>
        <a:p>
          <a:endParaRPr lang="en-US"/>
        </a:p>
      </dgm:t>
    </dgm:pt>
    <dgm:pt modelId="{D8D0E171-0D00-4062-AA47-4CC800DB088F}" type="pres">
      <dgm:prSet presAssocID="{8602E0CF-76F0-46A1-8F32-834ABFD4EC6A}" presName="connTx" presStyleLbl="parChTrans1D3" presStyleIdx="4" presStyleCnt="6"/>
      <dgm:spPr/>
      <dgm:t>
        <a:bodyPr/>
        <a:lstStyle/>
        <a:p>
          <a:endParaRPr lang="en-US"/>
        </a:p>
      </dgm:t>
    </dgm:pt>
    <dgm:pt modelId="{8FE19E88-EFCC-4782-B309-90F6E75432FE}" type="pres">
      <dgm:prSet presAssocID="{ECC608C5-C409-48B6-B9DC-BC13534589FF}" presName="root2" presStyleCnt="0"/>
      <dgm:spPr/>
    </dgm:pt>
    <dgm:pt modelId="{5D86BC73-389D-429D-8A7D-F2E20F352FFF}" type="pres">
      <dgm:prSet presAssocID="{ECC608C5-C409-48B6-B9DC-BC13534589FF}" presName="LevelTwoTextNode" presStyleLbl="node3" presStyleIdx="4" presStyleCnt="6" custScaleX="128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6115B08-F56C-4CE4-ADF8-5171ED202259}" type="pres">
      <dgm:prSet presAssocID="{ECC608C5-C409-48B6-B9DC-BC13534589FF}" presName="level3hierChild" presStyleCnt="0"/>
      <dgm:spPr/>
    </dgm:pt>
    <dgm:pt modelId="{261A7271-4FF8-4CF4-8BCC-1F364B493CCF}" type="pres">
      <dgm:prSet presAssocID="{C4FB0A1C-6763-48EC-9872-C48D3DC76563}" presName="conn2-1" presStyleLbl="parChTrans1D3" presStyleIdx="5" presStyleCnt="6"/>
      <dgm:spPr/>
      <dgm:t>
        <a:bodyPr/>
        <a:lstStyle/>
        <a:p>
          <a:endParaRPr lang="en-US"/>
        </a:p>
      </dgm:t>
    </dgm:pt>
    <dgm:pt modelId="{01BC6AF2-ED71-495F-A814-CABF0B0314A2}" type="pres">
      <dgm:prSet presAssocID="{C4FB0A1C-6763-48EC-9872-C48D3DC76563}" presName="connTx" presStyleLbl="parChTrans1D3" presStyleIdx="5" presStyleCnt="6"/>
      <dgm:spPr/>
      <dgm:t>
        <a:bodyPr/>
        <a:lstStyle/>
        <a:p>
          <a:endParaRPr lang="en-US"/>
        </a:p>
      </dgm:t>
    </dgm:pt>
    <dgm:pt modelId="{06ACFE3E-E307-4471-8603-8020429FFA90}" type="pres">
      <dgm:prSet presAssocID="{7CDA3D16-9FCF-4FDD-A589-9CB932E4E7DF}" presName="root2" presStyleCnt="0"/>
      <dgm:spPr/>
    </dgm:pt>
    <dgm:pt modelId="{C0756B7F-BB35-46B8-9A30-4AB4E754F37B}" type="pres">
      <dgm:prSet presAssocID="{7CDA3D16-9FCF-4FDD-A589-9CB932E4E7DF}" presName="LevelTwoTextNode" presStyleLbl="node3" presStyleIdx="5" presStyleCnt="6" custScaleX="128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691A3B8-3526-4D4A-874D-D9CD85452668}" type="pres">
      <dgm:prSet presAssocID="{7CDA3D16-9FCF-4FDD-A589-9CB932E4E7DF}" presName="level3hierChild" presStyleCnt="0"/>
      <dgm:spPr/>
    </dgm:pt>
  </dgm:ptLst>
  <dgm:cxnLst>
    <dgm:cxn modelId="{FB960926-E1DA-4932-AA5B-203821DEFC9D}" type="presOf" srcId="{E2703864-1F81-4E69-A666-FE4632F14162}" destId="{FC9F9868-865E-4D18-87F0-EE13709DB32D}" srcOrd="0" destOrd="0" presId="urn:microsoft.com/office/officeart/2005/8/layout/hierarchy2"/>
    <dgm:cxn modelId="{A3E24C2C-48C3-4233-A27C-0F904208F968}" type="presOf" srcId="{DE1A8942-DC29-4BDC-BCD7-BE886B6C76AF}" destId="{ABA924F7-E0F4-456B-9F7A-DAFCF1C25070}" srcOrd="1" destOrd="0" presId="urn:microsoft.com/office/officeart/2005/8/layout/hierarchy2"/>
    <dgm:cxn modelId="{AE2E9DA9-1C98-4E79-9B73-E0B946D1F1F9}" srcId="{CBC00D2F-BDFD-4D95-A131-9053ECD263D6}" destId="{ECC608C5-C409-48B6-B9DC-BC13534589FF}" srcOrd="1" destOrd="0" parTransId="{8602E0CF-76F0-46A1-8F32-834ABFD4EC6A}" sibTransId="{10B82749-E4EF-4734-AAFD-75870772D579}"/>
    <dgm:cxn modelId="{1879E391-5E0C-456E-BD55-0F299D894EB0}" type="presOf" srcId="{00B5D95F-C1FC-4EA4-9E16-9BD2070AAB06}" destId="{292C3DB7-A146-4822-BFED-705E251839B5}" srcOrd="0" destOrd="0" presId="urn:microsoft.com/office/officeart/2005/8/layout/hierarchy2"/>
    <dgm:cxn modelId="{BE77E5F4-257B-4C75-9576-225CD0328F96}" srcId="{087BB60C-E717-4559-86A3-695404694E85}" destId="{CBC00D2F-BDFD-4D95-A131-9053ECD263D6}" srcOrd="1" destOrd="0" parTransId="{D0E873C2-0D34-4EAC-BA4F-88D974E6C97D}" sibTransId="{293E17DF-872B-4B5E-98DF-945A442DEE26}"/>
    <dgm:cxn modelId="{5411A68B-58E0-43F6-A23C-B8E28151BD20}" srcId="{BBD58C85-F27E-4953-9E1D-B4BEEE17AB6F}" destId="{634750D9-2D57-4CCD-B853-9A2282019358}" srcOrd="1" destOrd="0" parTransId="{1415A58B-68A6-4ED6-83EB-E9BDCC81F1A3}" sibTransId="{330D3170-6710-4566-BA11-9056E1D9EE3B}"/>
    <dgm:cxn modelId="{53C184AE-4540-46EE-8271-6B16DAF8372E}" srcId="{BBD58C85-F27E-4953-9E1D-B4BEEE17AB6F}" destId="{0270D41E-2F5C-46E9-B1BF-5276BC305BFF}" srcOrd="0" destOrd="0" parTransId="{DE1A8942-DC29-4BDC-BCD7-BE886B6C76AF}" sibTransId="{160B660F-DB29-402A-81F1-9D7F47A9D70B}"/>
    <dgm:cxn modelId="{E80FEE87-FF64-45C2-839A-DD11EE1A46CD}" type="presOf" srcId="{EABBEF43-7B6B-4AFC-98CE-333DFF08DB99}" destId="{6E7D68EE-7066-47E7-BAEA-4C930B8A8C3A}" srcOrd="1" destOrd="0" presId="urn:microsoft.com/office/officeart/2005/8/layout/hierarchy2"/>
    <dgm:cxn modelId="{48A51F2D-C3FA-43C4-AAD3-F261DA96417D}" type="presOf" srcId="{D0E873C2-0D34-4EAC-BA4F-88D974E6C97D}" destId="{DEB49EA3-BEB6-4CB2-A629-3121C8159335}" srcOrd="1" destOrd="0" presId="urn:microsoft.com/office/officeart/2005/8/layout/hierarchy2"/>
    <dgm:cxn modelId="{85078D01-FB97-43ED-A322-077DF2D7252B}" srcId="{C35BD7D7-0443-4B05-AE91-FF124500EBCA}" destId="{087BB60C-E717-4559-86A3-695404694E85}" srcOrd="0" destOrd="0" parTransId="{1BC304DA-6840-4424-84A3-BE6C73189B7B}" sibTransId="{8C9A32CA-2BC2-49A3-A0B0-DCB5EA2BF52A}"/>
    <dgm:cxn modelId="{8F57AFB7-5B16-4446-AABA-6A13563F72F7}" type="presOf" srcId="{C35BD7D7-0443-4B05-AE91-FF124500EBCA}" destId="{CD0562A0-224A-44E7-8BFB-EE065C88AEEB}" srcOrd="0" destOrd="0" presId="urn:microsoft.com/office/officeart/2005/8/layout/hierarchy2"/>
    <dgm:cxn modelId="{24E2FA4F-B811-4C91-B0BD-F007069DB246}" type="presOf" srcId="{C4FB0A1C-6763-48EC-9872-C48D3DC76563}" destId="{01BC6AF2-ED71-495F-A814-CABF0B0314A2}" srcOrd="1" destOrd="0" presId="urn:microsoft.com/office/officeart/2005/8/layout/hierarchy2"/>
    <dgm:cxn modelId="{FD23662E-CF8A-4762-B687-7EF0E3832086}" type="presOf" srcId="{CBC00D2F-BDFD-4D95-A131-9053ECD263D6}" destId="{202B48CB-5A68-4CB8-A70C-E085CAB26DB8}" srcOrd="0" destOrd="0" presId="urn:microsoft.com/office/officeart/2005/8/layout/hierarchy2"/>
    <dgm:cxn modelId="{509D360E-E388-412E-AB47-398254C23C7D}" type="presOf" srcId="{7CDA3D16-9FCF-4FDD-A589-9CB932E4E7DF}" destId="{C0756B7F-BB35-46B8-9A30-4AB4E754F37B}" srcOrd="0" destOrd="0" presId="urn:microsoft.com/office/officeart/2005/8/layout/hierarchy2"/>
    <dgm:cxn modelId="{99F14316-C599-41A1-AC00-7EAC323B9481}" type="presOf" srcId="{DE1A8942-DC29-4BDC-BCD7-BE886B6C76AF}" destId="{BD3F9E64-8E56-41FE-A29F-486F60B13512}" srcOrd="0" destOrd="0" presId="urn:microsoft.com/office/officeart/2005/8/layout/hierarchy2"/>
    <dgm:cxn modelId="{B7268181-9E8B-4CF9-9C58-57C1DC4C5DC7}" type="presOf" srcId="{D0E873C2-0D34-4EAC-BA4F-88D974E6C97D}" destId="{D97F5B25-B1D6-44BA-9AD5-2073DCFBFC39}" srcOrd="0" destOrd="0" presId="urn:microsoft.com/office/officeart/2005/8/layout/hierarchy2"/>
    <dgm:cxn modelId="{82D84646-561D-40C6-A69F-51B275D7031D}" type="presOf" srcId="{BBD58C85-F27E-4953-9E1D-B4BEEE17AB6F}" destId="{01ED2A97-06D6-4F3C-957A-BC9BC5199136}" srcOrd="0" destOrd="0" presId="urn:microsoft.com/office/officeart/2005/8/layout/hierarchy2"/>
    <dgm:cxn modelId="{BA6A3A59-F60D-472A-B883-FAFD651EAAE8}" type="presOf" srcId="{DC3B93D7-B7F4-4015-A3AF-0823520FAC9C}" destId="{FBE1C7EE-1AA3-4133-A6E0-DCC57DF43EC6}" srcOrd="1" destOrd="0" presId="urn:microsoft.com/office/officeart/2005/8/layout/hierarchy2"/>
    <dgm:cxn modelId="{DE69C7EB-1FC9-4116-B159-47C82598A17E}" srcId="{BBD58C85-F27E-4953-9E1D-B4BEEE17AB6F}" destId="{00B5D95F-C1FC-4EA4-9E16-9BD2070AAB06}" srcOrd="2" destOrd="0" parTransId="{EABBEF43-7B6B-4AFC-98CE-333DFF08DB99}" sibTransId="{38F01D81-0BBC-4485-822E-83E617EF5D69}"/>
    <dgm:cxn modelId="{1CFB0C38-616E-4846-8511-0A036027A198}" type="presOf" srcId="{087BB60C-E717-4559-86A3-695404694E85}" destId="{2C511BB1-79F1-42EE-8312-208437BB2228}" srcOrd="0" destOrd="0" presId="urn:microsoft.com/office/officeart/2005/8/layout/hierarchy2"/>
    <dgm:cxn modelId="{086C68E5-47D5-460A-8F30-533A6D9B7B1B}" type="presOf" srcId="{8602E0CF-76F0-46A1-8F32-834ABFD4EC6A}" destId="{22454FD9-4E5F-479C-ADBE-22339052B2E3}" srcOrd="0" destOrd="0" presId="urn:microsoft.com/office/officeart/2005/8/layout/hierarchy2"/>
    <dgm:cxn modelId="{136CD91C-DE9E-4354-8B15-A96764EB1666}" type="presOf" srcId="{BF4B3FD2-9BC4-42C4-90C6-E46464C77B76}" destId="{8E430327-E5ED-487C-ABF9-D526B49EB779}" srcOrd="0" destOrd="0" presId="urn:microsoft.com/office/officeart/2005/8/layout/hierarchy2"/>
    <dgm:cxn modelId="{B1E99370-89AE-4080-A315-DA92C212D52B}" type="presOf" srcId="{EABBEF43-7B6B-4AFC-98CE-333DFF08DB99}" destId="{FFE5EAA4-82C8-4DA4-AB50-559E310D95FE}" srcOrd="0" destOrd="0" presId="urn:microsoft.com/office/officeart/2005/8/layout/hierarchy2"/>
    <dgm:cxn modelId="{66DED3E2-33C5-4C72-9BBE-BC7E5679D085}" type="presOf" srcId="{0270D41E-2F5C-46E9-B1BF-5276BC305BFF}" destId="{390F56DE-1EFC-4DB0-B9AE-FC6C5B597D0B}" srcOrd="0" destOrd="0" presId="urn:microsoft.com/office/officeart/2005/8/layout/hierarchy2"/>
    <dgm:cxn modelId="{73DB97C1-A539-4D6A-9C54-30D18DB75459}" srcId="{CBC00D2F-BDFD-4D95-A131-9053ECD263D6}" destId="{7CDA3D16-9FCF-4FDD-A589-9CB932E4E7DF}" srcOrd="2" destOrd="0" parTransId="{C4FB0A1C-6763-48EC-9872-C48D3DC76563}" sibTransId="{2D037956-F9BA-4369-82F0-DD8A9376D369}"/>
    <dgm:cxn modelId="{6D9755EF-8AA5-47F8-AB8E-0D769B724104}" type="presOf" srcId="{E2703864-1F81-4E69-A666-FE4632F14162}" destId="{F641C743-685F-4A9A-85F2-D6E3FCDF033E}" srcOrd="1" destOrd="0" presId="urn:microsoft.com/office/officeart/2005/8/layout/hierarchy2"/>
    <dgm:cxn modelId="{25BE09B9-AC79-478F-B340-25AE780A052B}" type="presOf" srcId="{C4FB0A1C-6763-48EC-9872-C48D3DC76563}" destId="{261A7271-4FF8-4CF4-8BCC-1F364B493CCF}" srcOrd="0" destOrd="0" presId="urn:microsoft.com/office/officeart/2005/8/layout/hierarchy2"/>
    <dgm:cxn modelId="{167A5C2B-FCB6-42ED-A3DD-042F6E2D8492}" type="presOf" srcId="{DC3B93D7-B7F4-4015-A3AF-0823520FAC9C}" destId="{EE735B75-59E1-49A5-91B2-90022882B659}" srcOrd="0" destOrd="0" presId="urn:microsoft.com/office/officeart/2005/8/layout/hierarchy2"/>
    <dgm:cxn modelId="{8AE4023D-B66C-4754-A4CA-91B11C936AA6}" type="presOf" srcId="{1415A58B-68A6-4ED6-83EB-E9BDCC81F1A3}" destId="{8DB305BA-67B5-47F4-B941-EC40F2D5084C}" srcOrd="1" destOrd="0" presId="urn:microsoft.com/office/officeart/2005/8/layout/hierarchy2"/>
    <dgm:cxn modelId="{827036C6-49CB-47F1-ADB7-A5E9A1BED26C}" srcId="{CBC00D2F-BDFD-4D95-A131-9053ECD263D6}" destId="{BF4B3FD2-9BC4-42C4-90C6-E46464C77B76}" srcOrd="0" destOrd="0" parTransId="{DC3B93D7-B7F4-4015-A3AF-0823520FAC9C}" sibTransId="{EDC352F5-BBFB-49C6-9CDF-E3459FAAF957}"/>
    <dgm:cxn modelId="{866A4C35-ACA7-4D9C-BE8C-5623D76392FC}" srcId="{087BB60C-E717-4559-86A3-695404694E85}" destId="{BBD58C85-F27E-4953-9E1D-B4BEEE17AB6F}" srcOrd="0" destOrd="0" parTransId="{E2703864-1F81-4E69-A666-FE4632F14162}" sibTransId="{45E19955-113C-49CF-8D99-62D3CD10E7AC}"/>
    <dgm:cxn modelId="{9A60E860-57A1-46E4-A79D-3DA6724B757B}" type="presOf" srcId="{634750D9-2D57-4CCD-B853-9A2282019358}" destId="{6E82C3E9-4CC1-4061-AF31-210351641777}" srcOrd="0" destOrd="0" presId="urn:microsoft.com/office/officeart/2005/8/layout/hierarchy2"/>
    <dgm:cxn modelId="{BB1A78FB-F72F-4147-88D8-23353353A2AD}" type="presOf" srcId="{ECC608C5-C409-48B6-B9DC-BC13534589FF}" destId="{5D86BC73-389D-429D-8A7D-F2E20F352FFF}" srcOrd="0" destOrd="0" presId="urn:microsoft.com/office/officeart/2005/8/layout/hierarchy2"/>
    <dgm:cxn modelId="{7412B74C-125D-4AC8-8D04-F4A84C9877FB}" type="presOf" srcId="{8602E0CF-76F0-46A1-8F32-834ABFD4EC6A}" destId="{D8D0E171-0D00-4062-AA47-4CC800DB088F}" srcOrd="1" destOrd="0" presId="urn:microsoft.com/office/officeart/2005/8/layout/hierarchy2"/>
    <dgm:cxn modelId="{F4ABA1FC-EC47-49E3-BCD4-41F77C70F6C1}" type="presOf" srcId="{1415A58B-68A6-4ED6-83EB-E9BDCC81F1A3}" destId="{1FC0E11A-1209-460D-AFAD-EF2D987A0F99}" srcOrd="0" destOrd="0" presId="urn:microsoft.com/office/officeart/2005/8/layout/hierarchy2"/>
    <dgm:cxn modelId="{17055606-F220-48E7-B779-7A709912E718}" type="presParOf" srcId="{CD0562A0-224A-44E7-8BFB-EE065C88AEEB}" destId="{EE161A51-60AD-4F08-AE65-98A949F2B514}" srcOrd="0" destOrd="0" presId="urn:microsoft.com/office/officeart/2005/8/layout/hierarchy2"/>
    <dgm:cxn modelId="{286F22E6-82AB-476B-8484-29E84019BF9B}" type="presParOf" srcId="{EE161A51-60AD-4F08-AE65-98A949F2B514}" destId="{2C511BB1-79F1-42EE-8312-208437BB2228}" srcOrd="0" destOrd="0" presId="urn:microsoft.com/office/officeart/2005/8/layout/hierarchy2"/>
    <dgm:cxn modelId="{0E5CD941-4C9C-4899-90A0-416F566C053B}" type="presParOf" srcId="{EE161A51-60AD-4F08-AE65-98A949F2B514}" destId="{5CFC90D0-D798-4E1B-94C6-6E27A6BA9F07}" srcOrd="1" destOrd="0" presId="urn:microsoft.com/office/officeart/2005/8/layout/hierarchy2"/>
    <dgm:cxn modelId="{9D7A4782-F4FB-4557-B155-97FC0238AED3}" type="presParOf" srcId="{5CFC90D0-D798-4E1B-94C6-6E27A6BA9F07}" destId="{FC9F9868-865E-4D18-87F0-EE13709DB32D}" srcOrd="0" destOrd="0" presId="urn:microsoft.com/office/officeart/2005/8/layout/hierarchy2"/>
    <dgm:cxn modelId="{11FF5AF5-EE28-49D4-ADB8-0CCBA1ED6EC3}" type="presParOf" srcId="{FC9F9868-865E-4D18-87F0-EE13709DB32D}" destId="{F641C743-685F-4A9A-85F2-D6E3FCDF033E}" srcOrd="0" destOrd="0" presId="urn:microsoft.com/office/officeart/2005/8/layout/hierarchy2"/>
    <dgm:cxn modelId="{07C15944-BE09-4199-9995-E731DC2EB20E}" type="presParOf" srcId="{5CFC90D0-D798-4E1B-94C6-6E27A6BA9F07}" destId="{8102C0BF-80CF-48EB-82C0-BAF86FDC8B9E}" srcOrd="1" destOrd="0" presId="urn:microsoft.com/office/officeart/2005/8/layout/hierarchy2"/>
    <dgm:cxn modelId="{04E3E316-55D0-4801-BEC1-3C47C73EDCF5}" type="presParOf" srcId="{8102C0BF-80CF-48EB-82C0-BAF86FDC8B9E}" destId="{01ED2A97-06D6-4F3C-957A-BC9BC5199136}" srcOrd="0" destOrd="0" presId="urn:microsoft.com/office/officeart/2005/8/layout/hierarchy2"/>
    <dgm:cxn modelId="{CC627775-6F40-4DF2-8207-21691EE80FE4}" type="presParOf" srcId="{8102C0BF-80CF-48EB-82C0-BAF86FDC8B9E}" destId="{37D0304E-E07D-4CF5-BF58-8EC4B85D3EC9}" srcOrd="1" destOrd="0" presId="urn:microsoft.com/office/officeart/2005/8/layout/hierarchy2"/>
    <dgm:cxn modelId="{4EB8F2FC-D9C8-4C45-984D-7781A8C3B986}" type="presParOf" srcId="{37D0304E-E07D-4CF5-BF58-8EC4B85D3EC9}" destId="{BD3F9E64-8E56-41FE-A29F-486F60B13512}" srcOrd="0" destOrd="0" presId="urn:microsoft.com/office/officeart/2005/8/layout/hierarchy2"/>
    <dgm:cxn modelId="{8F1611BA-6279-4B13-AF71-E637E387B72B}" type="presParOf" srcId="{BD3F9E64-8E56-41FE-A29F-486F60B13512}" destId="{ABA924F7-E0F4-456B-9F7A-DAFCF1C25070}" srcOrd="0" destOrd="0" presId="urn:microsoft.com/office/officeart/2005/8/layout/hierarchy2"/>
    <dgm:cxn modelId="{0F102C5C-D7C0-42DF-9107-F46E436EFCA7}" type="presParOf" srcId="{37D0304E-E07D-4CF5-BF58-8EC4B85D3EC9}" destId="{383F99C5-1551-4F67-A6EC-E9B39DB8A34E}" srcOrd="1" destOrd="0" presId="urn:microsoft.com/office/officeart/2005/8/layout/hierarchy2"/>
    <dgm:cxn modelId="{84209A65-72E4-4446-BF2A-58B26677F24B}" type="presParOf" srcId="{383F99C5-1551-4F67-A6EC-E9B39DB8A34E}" destId="{390F56DE-1EFC-4DB0-B9AE-FC6C5B597D0B}" srcOrd="0" destOrd="0" presId="urn:microsoft.com/office/officeart/2005/8/layout/hierarchy2"/>
    <dgm:cxn modelId="{015E7697-297F-4206-A1B8-58855FB1ED9A}" type="presParOf" srcId="{383F99C5-1551-4F67-A6EC-E9B39DB8A34E}" destId="{CEBF6A04-F471-4C47-953B-410149475CC9}" srcOrd="1" destOrd="0" presId="urn:microsoft.com/office/officeart/2005/8/layout/hierarchy2"/>
    <dgm:cxn modelId="{2E6C658C-60FA-4D48-9C0E-8A3F4584B5F2}" type="presParOf" srcId="{37D0304E-E07D-4CF5-BF58-8EC4B85D3EC9}" destId="{1FC0E11A-1209-460D-AFAD-EF2D987A0F99}" srcOrd="2" destOrd="0" presId="urn:microsoft.com/office/officeart/2005/8/layout/hierarchy2"/>
    <dgm:cxn modelId="{8AE526FB-8C80-4DA3-8952-9929259E8BB9}" type="presParOf" srcId="{1FC0E11A-1209-460D-AFAD-EF2D987A0F99}" destId="{8DB305BA-67B5-47F4-B941-EC40F2D5084C}" srcOrd="0" destOrd="0" presId="urn:microsoft.com/office/officeart/2005/8/layout/hierarchy2"/>
    <dgm:cxn modelId="{3F297121-E549-43D3-A691-D92F6ED8BC81}" type="presParOf" srcId="{37D0304E-E07D-4CF5-BF58-8EC4B85D3EC9}" destId="{72DF7E60-0617-4D7D-9E0B-655AF90BE13A}" srcOrd="3" destOrd="0" presId="urn:microsoft.com/office/officeart/2005/8/layout/hierarchy2"/>
    <dgm:cxn modelId="{B6B03BE9-7C47-495B-840F-73249CE7CDC4}" type="presParOf" srcId="{72DF7E60-0617-4D7D-9E0B-655AF90BE13A}" destId="{6E82C3E9-4CC1-4061-AF31-210351641777}" srcOrd="0" destOrd="0" presId="urn:microsoft.com/office/officeart/2005/8/layout/hierarchy2"/>
    <dgm:cxn modelId="{3B27E089-1227-4448-ABC3-3F1AD88B589E}" type="presParOf" srcId="{72DF7E60-0617-4D7D-9E0B-655AF90BE13A}" destId="{D9FD6324-71A3-45B8-B695-F91EC8CAE391}" srcOrd="1" destOrd="0" presId="urn:microsoft.com/office/officeart/2005/8/layout/hierarchy2"/>
    <dgm:cxn modelId="{E5719592-FF41-4ABE-A817-779A4B236248}" type="presParOf" srcId="{37D0304E-E07D-4CF5-BF58-8EC4B85D3EC9}" destId="{FFE5EAA4-82C8-4DA4-AB50-559E310D95FE}" srcOrd="4" destOrd="0" presId="urn:microsoft.com/office/officeart/2005/8/layout/hierarchy2"/>
    <dgm:cxn modelId="{6C72E17A-0477-4B8D-9791-F048602C7A25}" type="presParOf" srcId="{FFE5EAA4-82C8-4DA4-AB50-559E310D95FE}" destId="{6E7D68EE-7066-47E7-BAEA-4C930B8A8C3A}" srcOrd="0" destOrd="0" presId="urn:microsoft.com/office/officeart/2005/8/layout/hierarchy2"/>
    <dgm:cxn modelId="{D8BF2822-EAD0-4D65-9045-81660FF19422}" type="presParOf" srcId="{37D0304E-E07D-4CF5-BF58-8EC4B85D3EC9}" destId="{CD24C59B-7345-4381-AC0E-0365EF76225B}" srcOrd="5" destOrd="0" presId="urn:microsoft.com/office/officeart/2005/8/layout/hierarchy2"/>
    <dgm:cxn modelId="{09CDF2AD-1E51-43C2-AA50-B10ABD0DBA08}" type="presParOf" srcId="{CD24C59B-7345-4381-AC0E-0365EF76225B}" destId="{292C3DB7-A146-4822-BFED-705E251839B5}" srcOrd="0" destOrd="0" presId="urn:microsoft.com/office/officeart/2005/8/layout/hierarchy2"/>
    <dgm:cxn modelId="{FD741CD7-DE17-4657-9447-62F963EC2E4D}" type="presParOf" srcId="{CD24C59B-7345-4381-AC0E-0365EF76225B}" destId="{C09A79C1-6009-4EF1-9CC8-176B462F688D}" srcOrd="1" destOrd="0" presId="urn:microsoft.com/office/officeart/2005/8/layout/hierarchy2"/>
    <dgm:cxn modelId="{0E726534-3140-4BAB-B1E8-D1DCFD7BF49E}" type="presParOf" srcId="{5CFC90D0-D798-4E1B-94C6-6E27A6BA9F07}" destId="{D97F5B25-B1D6-44BA-9AD5-2073DCFBFC39}" srcOrd="2" destOrd="0" presId="urn:microsoft.com/office/officeart/2005/8/layout/hierarchy2"/>
    <dgm:cxn modelId="{C1BA521C-47FB-4A59-A900-B3F48AAD6A61}" type="presParOf" srcId="{D97F5B25-B1D6-44BA-9AD5-2073DCFBFC39}" destId="{DEB49EA3-BEB6-4CB2-A629-3121C8159335}" srcOrd="0" destOrd="0" presId="urn:microsoft.com/office/officeart/2005/8/layout/hierarchy2"/>
    <dgm:cxn modelId="{48D23683-816C-4879-9386-35EEBD1F3155}" type="presParOf" srcId="{5CFC90D0-D798-4E1B-94C6-6E27A6BA9F07}" destId="{5CC7CAD4-B895-4E3D-A3AD-906A720A6E33}" srcOrd="3" destOrd="0" presId="urn:microsoft.com/office/officeart/2005/8/layout/hierarchy2"/>
    <dgm:cxn modelId="{F7F42094-F0EA-45D3-A91E-FC9D501E6B3B}" type="presParOf" srcId="{5CC7CAD4-B895-4E3D-A3AD-906A720A6E33}" destId="{202B48CB-5A68-4CB8-A70C-E085CAB26DB8}" srcOrd="0" destOrd="0" presId="urn:microsoft.com/office/officeart/2005/8/layout/hierarchy2"/>
    <dgm:cxn modelId="{C4EADEBF-7B49-4FDC-81CA-C67EB046C6EF}" type="presParOf" srcId="{5CC7CAD4-B895-4E3D-A3AD-906A720A6E33}" destId="{77C6574B-6247-4302-9973-A9F03CAD436B}" srcOrd="1" destOrd="0" presId="urn:microsoft.com/office/officeart/2005/8/layout/hierarchy2"/>
    <dgm:cxn modelId="{6C5A2FC9-949B-4466-975A-DAF50DBF993D}" type="presParOf" srcId="{77C6574B-6247-4302-9973-A9F03CAD436B}" destId="{EE735B75-59E1-49A5-91B2-90022882B659}" srcOrd="0" destOrd="0" presId="urn:microsoft.com/office/officeart/2005/8/layout/hierarchy2"/>
    <dgm:cxn modelId="{7A758B6D-38D0-4FEA-B365-BB685F94D0F7}" type="presParOf" srcId="{EE735B75-59E1-49A5-91B2-90022882B659}" destId="{FBE1C7EE-1AA3-4133-A6E0-DCC57DF43EC6}" srcOrd="0" destOrd="0" presId="urn:microsoft.com/office/officeart/2005/8/layout/hierarchy2"/>
    <dgm:cxn modelId="{44B9EA9F-DBD7-4E5E-894C-83FCD45D0483}" type="presParOf" srcId="{77C6574B-6247-4302-9973-A9F03CAD436B}" destId="{F1178D81-43E7-47B0-B490-02960A8727B0}" srcOrd="1" destOrd="0" presId="urn:microsoft.com/office/officeart/2005/8/layout/hierarchy2"/>
    <dgm:cxn modelId="{A165F14C-F646-4CCA-A044-9E732B62F6ED}" type="presParOf" srcId="{F1178D81-43E7-47B0-B490-02960A8727B0}" destId="{8E430327-E5ED-487C-ABF9-D526B49EB779}" srcOrd="0" destOrd="0" presId="urn:microsoft.com/office/officeart/2005/8/layout/hierarchy2"/>
    <dgm:cxn modelId="{252DE42D-5C1B-41AC-B21E-0A9EA419AF86}" type="presParOf" srcId="{F1178D81-43E7-47B0-B490-02960A8727B0}" destId="{831E67DA-A2A5-44DD-95F9-C27A4CE5F8FA}" srcOrd="1" destOrd="0" presId="urn:microsoft.com/office/officeart/2005/8/layout/hierarchy2"/>
    <dgm:cxn modelId="{CAE30509-7BD4-4445-A274-D0EEA59D3D93}" type="presParOf" srcId="{77C6574B-6247-4302-9973-A9F03CAD436B}" destId="{22454FD9-4E5F-479C-ADBE-22339052B2E3}" srcOrd="2" destOrd="0" presId="urn:microsoft.com/office/officeart/2005/8/layout/hierarchy2"/>
    <dgm:cxn modelId="{D584B6F7-3DE0-4B80-AAE9-F4E71F95358F}" type="presParOf" srcId="{22454FD9-4E5F-479C-ADBE-22339052B2E3}" destId="{D8D0E171-0D00-4062-AA47-4CC800DB088F}" srcOrd="0" destOrd="0" presId="urn:microsoft.com/office/officeart/2005/8/layout/hierarchy2"/>
    <dgm:cxn modelId="{E30EBD84-C2B8-4C16-878B-B081CA08816F}" type="presParOf" srcId="{77C6574B-6247-4302-9973-A9F03CAD436B}" destId="{8FE19E88-EFCC-4782-B309-90F6E75432FE}" srcOrd="3" destOrd="0" presId="urn:microsoft.com/office/officeart/2005/8/layout/hierarchy2"/>
    <dgm:cxn modelId="{CD6AC141-98FB-4F94-AB5C-295C0CE8B656}" type="presParOf" srcId="{8FE19E88-EFCC-4782-B309-90F6E75432FE}" destId="{5D86BC73-389D-429D-8A7D-F2E20F352FFF}" srcOrd="0" destOrd="0" presId="urn:microsoft.com/office/officeart/2005/8/layout/hierarchy2"/>
    <dgm:cxn modelId="{07C167BB-57FC-42B7-B5AC-EDB864685164}" type="presParOf" srcId="{8FE19E88-EFCC-4782-B309-90F6E75432FE}" destId="{76115B08-F56C-4CE4-ADF8-5171ED202259}" srcOrd="1" destOrd="0" presId="urn:microsoft.com/office/officeart/2005/8/layout/hierarchy2"/>
    <dgm:cxn modelId="{5503F63E-976B-491D-99CC-9D44CAF6E622}" type="presParOf" srcId="{77C6574B-6247-4302-9973-A9F03CAD436B}" destId="{261A7271-4FF8-4CF4-8BCC-1F364B493CCF}" srcOrd="4" destOrd="0" presId="urn:microsoft.com/office/officeart/2005/8/layout/hierarchy2"/>
    <dgm:cxn modelId="{50D34921-9274-4FA8-A266-800D44660EA1}" type="presParOf" srcId="{261A7271-4FF8-4CF4-8BCC-1F364B493CCF}" destId="{01BC6AF2-ED71-495F-A814-CABF0B0314A2}" srcOrd="0" destOrd="0" presId="urn:microsoft.com/office/officeart/2005/8/layout/hierarchy2"/>
    <dgm:cxn modelId="{5C9C0F2B-E9CD-4EA6-B1A3-AAF91E915901}" type="presParOf" srcId="{77C6574B-6247-4302-9973-A9F03CAD436B}" destId="{06ACFE3E-E307-4471-8603-8020429FFA90}" srcOrd="5" destOrd="0" presId="urn:microsoft.com/office/officeart/2005/8/layout/hierarchy2"/>
    <dgm:cxn modelId="{591F15B4-F43B-478B-A9C5-7C31D41A5812}" type="presParOf" srcId="{06ACFE3E-E307-4471-8603-8020429FFA90}" destId="{C0756B7F-BB35-46B8-9A30-4AB4E754F37B}" srcOrd="0" destOrd="0" presId="urn:microsoft.com/office/officeart/2005/8/layout/hierarchy2"/>
    <dgm:cxn modelId="{D0480493-C8BF-4C53-994C-A88A2D3B138F}" type="presParOf" srcId="{06ACFE3E-E307-4471-8603-8020429FFA90}" destId="{7691A3B8-3526-4D4A-874D-D9CD8545266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96E92B3-ABAA-4E14-B79A-8CA573AF621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CC4DE30E-B992-4CDF-9418-0412AAE9C479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2015</a:t>
          </a:r>
          <a:endParaRPr lang="en-US" dirty="0"/>
        </a:p>
      </dgm:t>
    </dgm:pt>
    <dgm:pt modelId="{AD6BB8A8-01F6-4477-8926-35ADE796F095}" type="parTrans" cxnId="{0FA5C7CF-2EA4-4F47-8030-C0B7ED75602D}">
      <dgm:prSet/>
      <dgm:spPr/>
      <dgm:t>
        <a:bodyPr/>
        <a:lstStyle/>
        <a:p>
          <a:endParaRPr lang="en-US"/>
        </a:p>
      </dgm:t>
    </dgm:pt>
    <dgm:pt modelId="{AA17744F-B422-407A-B7B8-813448A038B9}" type="sibTrans" cxnId="{0FA5C7CF-2EA4-4F47-8030-C0B7ED75602D}">
      <dgm:prSet/>
      <dgm:spPr/>
      <dgm:t>
        <a:bodyPr/>
        <a:lstStyle/>
        <a:p>
          <a:endParaRPr lang="en-US"/>
        </a:p>
      </dgm:t>
    </dgm:pt>
    <dgm:pt modelId="{7AA38E2C-4A95-41D9-87DD-A5F5E1BC8CEB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2016</a:t>
          </a:r>
          <a:endParaRPr lang="en-US" dirty="0"/>
        </a:p>
      </dgm:t>
    </dgm:pt>
    <dgm:pt modelId="{9908A696-CC74-475D-90F3-653FC3205E40}" type="parTrans" cxnId="{92776776-F6EF-47D0-8F30-D2E327F660CE}">
      <dgm:prSet/>
      <dgm:spPr/>
      <dgm:t>
        <a:bodyPr/>
        <a:lstStyle/>
        <a:p>
          <a:endParaRPr lang="en-US"/>
        </a:p>
      </dgm:t>
    </dgm:pt>
    <dgm:pt modelId="{14B6AE45-46C5-454B-850E-FD8EBC2AD0E5}" type="sibTrans" cxnId="{92776776-F6EF-47D0-8F30-D2E327F660CE}">
      <dgm:prSet/>
      <dgm:spPr/>
      <dgm:t>
        <a:bodyPr/>
        <a:lstStyle/>
        <a:p>
          <a:endParaRPr lang="en-US"/>
        </a:p>
      </dgm:t>
    </dgm:pt>
    <dgm:pt modelId="{DBC5D32E-4E3E-4B0E-8C64-2F421624F6AE}">
      <dgm:prSet phldrT="[Text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2017</a:t>
          </a:r>
          <a:endParaRPr lang="en-US" dirty="0"/>
        </a:p>
      </dgm:t>
    </dgm:pt>
    <dgm:pt modelId="{D2B4E3AD-DEE4-4EC8-87C7-E3A384E11DA4}" type="parTrans" cxnId="{04A327FB-B41C-4B4D-8977-BC1CF4EA7277}">
      <dgm:prSet/>
      <dgm:spPr/>
      <dgm:t>
        <a:bodyPr/>
        <a:lstStyle/>
        <a:p>
          <a:endParaRPr lang="en-US"/>
        </a:p>
      </dgm:t>
    </dgm:pt>
    <dgm:pt modelId="{B3B40FFB-705A-4B8A-8058-00CBBD3E4225}" type="sibTrans" cxnId="{04A327FB-B41C-4B4D-8977-BC1CF4EA7277}">
      <dgm:prSet/>
      <dgm:spPr/>
      <dgm:t>
        <a:bodyPr/>
        <a:lstStyle/>
        <a:p>
          <a:endParaRPr lang="en-US"/>
        </a:p>
      </dgm:t>
    </dgm:pt>
    <dgm:pt modelId="{F643B988-2A90-4873-B5CA-453DA298463C}">
      <dgm:prSet/>
      <dgm:spPr>
        <a:solidFill>
          <a:srgbClr val="C00000"/>
        </a:solidFill>
      </dgm:spPr>
      <dgm:t>
        <a:bodyPr/>
        <a:lstStyle/>
        <a:p>
          <a:r>
            <a:rPr lang="en-US" dirty="0" smtClean="0"/>
            <a:t>2018</a:t>
          </a:r>
          <a:endParaRPr lang="en-US" dirty="0"/>
        </a:p>
      </dgm:t>
    </dgm:pt>
    <dgm:pt modelId="{9F200528-82A6-442B-8AA5-CC977E106602}" type="parTrans" cxnId="{34A5FACD-A521-4884-985F-6F28C7AC0981}">
      <dgm:prSet/>
      <dgm:spPr/>
      <dgm:t>
        <a:bodyPr/>
        <a:lstStyle/>
        <a:p>
          <a:endParaRPr lang="en-US"/>
        </a:p>
      </dgm:t>
    </dgm:pt>
    <dgm:pt modelId="{02A8D51E-2434-4A2D-9996-6EA35240B618}" type="sibTrans" cxnId="{34A5FACD-A521-4884-985F-6F28C7AC0981}">
      <dgm:prSet/>
      <dgm:spPr/>
      <dgm:t>
        <a:bodyPr/>
        <a:lstStyle/>
        <a:p>
          <a:endParaRPr lang="en-US"/>
        </a:p>
      </dgm:t>
    </dgm:pt>
    <dgm:pt modelId="{3513C167-D811-4754-9E40-5447623EA87C}">
      <dgm:prSet/>
      <dgm:spPr>
        <a:solidFill>
          <a:srgbClr val="C00000"/>
        </a:solidFill>
      </dgm:spPr>
      <dgm:t>
        <a:bodyPr/>
        <a:lstStyle/>
        <a:p>
          <a:r>
            <a:rPr lang="en-US" dirty="0" smtClean="0"/>
            <a:t>2019</a:t>
          </a:r>
          <a:endParaRPr lang="en-US" dirty="0"/>
        </a:p>
      </dgm:t>
    </dgm:pt>
    <dgm:pt modelId="{675FEA27-408F-4720-806D-72E1629BEBB2}" type="parTrans" cxnId="{60F2021D-EC33-4011-A0DB-D72F3E70624D}">
      <dgm:prSet/>
      <dgm:spPr/>
      <dgm:t>
        <a:bodyPr/>
        <a:lstStyle/>
        <a:p>
          <a:endParaRPr lang="en-US"/>
        </a:p>
      </dgm:t>
    </dgm:pt>
    <dgm:pt modelId="{18F68E42-D009-407B-B93D-B0D7F58C3890}" type="sibTrans" cxnId="{60F2021D-EC33-4011-A0DB-D72F3E70624D}">
      <dgm:prSet/>
      <dgm:spPr/>
      <dgm:t>
        <a:bodyPr/>
        <a:lstStyle/>
        <a:p>
          <a:endParaRPr lang="en-US"/>
        </a:p>
      </dgm:t>
    </dgm:pt>
    <dgm:pt modelId="{6F1592F6-9DFB-4038-A957-E68A690F5DA9}" type="pres">
      <dgm:prSet presAssocID="{796E92B3-ABAA-4E14-B79A-8CA573AF621E}" presName="Name0" presStyleCnt="0">
        <dgm:presLayoutVars>
          <dgm:dir/>
          <dgm:animLvl val="lvl"/>
          <dgm:resizeHandles val="exact"/>
        </dgm:presLayoutVars>
      </dgm:prSet>
      <dgm:spPr/>
    </dgm:pt>
    <dgm:pt modelId="{62C4B467-EF0C-44C9-AFFA-7372424B5ABF}" type="pres">
      <dgm:prSet presAssocID="{CC4DE30E-B992-4CDF-9418-0412AAE9C479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913B85-9AA6-4EEB-B5A0-858AC62C64B1}" type="pres">
      <dgm:prSet presAssocID="{AA17744F-B422-407A-B7B8-813448A038B9}" presName="parTxOnlySpace" presStyleCnt="0"/>
      <dgm:spPr/>
    </dgm:pt>
    <dgm:pt modelId="{8119DC04-FA18-4C05-B4FC-463910C5561E}" type="pres">
      <dgm:prSet presAssocID="{7AA38E2C-4A95-41D9-87DD-A5F5E1BC8CEB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18F9EF-9843-4993-95AE-D172D59E0160}" type="pres">
      <dgm:prSet presAssocID="{14B6AE45-46C5-454B-850E-FD8EBC2AD0E5}" presName="parTxOnlySpace" presStyleCnt="0"/>
      <dgm:spPr/>
    </dgm:pt>
    <dgm:pt modelId="{27EDAFA1-3225-4EDD-954D-C3BD5F2F8732}" type="pres">
      <dgm:prSet presAssocID="{DBC5D32E-4E3E-4B0E-8C64-2F421624F6AE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DDC3E7-6E51-4E14-9456-208A15C80B00}" type="pres">
      <dgm:prSet presAssocID="{B3B40FFB-705A-4B8A-8058-00CBBD3E4225}" presName="parTxOnlySpace" presStyleCnt="0"/>
      <dgm:spPr/>
    </dgm:pt>
    <dgm:pt modelId="{9F990DF5-3ED1-4800-9771-23D90264A0C0}" type="pres">
      <dgm:prSet presAssocID="{F643B988-2A90-4873-B5CA-453DA298463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D1557E-D58F-4CE6-AA4E-2416187A93F5}" type="pres">
      <dgm:prSet presAssocID="{02A8D51E-2434-4A2D-9996-6EA35240B618}" presName="parTxOnlySpace" presStyleCnt="0"/>
      <dgm:spPr/>
    </dgm:pt>
    <dgm:pt modelId="{05E58393-B5E2-4C84-8483-753005D65625}" type="pres">
      <dgm:prSet presAssocID="{3513C167-D811-4754-9E40-5447623EA87C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FA5C7CF-2EA4-4F47-8030-C0B7ED75602D}" srcId="{796E92B3-ABAA-4E14-B79A-8CA573AF621E}" destId="{CC4DE30E-B992-4CDF-9418-0412AAE9C479}" srcOrd="0" destOrd="0" parTransId="{AD6BB8A8-01F6-4477-8926-35ADE796F095}" sibTransId="{AA17744F-B422-407A-B7B8-813448A038B9}"/>
    <dgm:cxn modelId="{60F2021D-EC33-4011-A0DB-D72F3E70624D}" srcId="{796E92B3-ABAA-4E14-B79A-8CA573AF621E}" destId="{3513C167-D811-4754-9E40-5447623EA87C}" srcOrd="4" destOrd="0" parTransId="{675FEA27-408F-4720-806D-72E1629BEBB2}" sibTransId="{18F68E42-D009-407B-B93D-B0D7F58C3890}"/>
    <dgm:cxn modelId="{8DF840BE-E4C6-4D81-A8BD-1C79E5D6A1E9}" type="presOf" srcId="{CC4DE30E-B992-4CDF-9418-0412AAE9C479}" destId="{62C4B467-EF0C-44C9-AFFA-7372424B5ABF}" srcOrd="0" destOrd="0" presId="urn:microsoft.com/office/officeart/2005/8/layout/chevron1"/>
    <dgm:cxn modelId="{04A327FB-B41C-4B4D-8977-BC1CF4EA7277}" srcId="{796E92B3-ABAA-4E14-B79A-8CA573AF621E}" destId="{DBC5D32E-4E3E-4B0E-8C64-2F421624F6AE}" srcOrd="2" destOrd="0" parTransId="{D2B4E3AD-DEE4-4EC8-87C7-E3A384E11DA4}" sibTransId="{B3B40FFB-705A-4B8A-8058-00CBBD3E4225}"/>
    <dgm:cxn modelId="{27DF4C1E-0FAB-407B-A478-1F3A6E709754}" type="presOf" srcId="{796E92B3-ABAA-4E14-B79A-8CA573AF621E}" destId="{6F1592F6-9DFB-4038-A957-E68A690F5DA9}" srcOrd="0" destOrd="0" presId="urn:microsoft.com/office/officeart/2005/8/layout/chevron1"/>
    <dgm:cxn modelId="{C85B36FE-60C1-438F-BA2A-8BE872DF8AF0}" type="presOf" srcId="{7AA38E2C-4A95-41D9-87DD-A5F5E1BC8CEB}" destId="{8119DC04-FA18-4C05-B4FC-463910C5561E}" srcOrd="0" destOrd="0" presId="urn:microsoft.com/office/officeart/2005/8/layout/chevron1"/>
    <dgm:cxn modelId="{34A5FACD-A521-4884-985F-6F28C7AC0981}" srcId="{796E92B3-ABAA-4E14-B79A-8CA573AF621E}" destId="{F643B988-2A90-4873-B5CA-453DA298463C}" srcOrd="3" destOrd="0" parTransId="{9F200528-82A6-442B-8AA5-CC977E106602}" sibTransId="{02A8D51E-2434-4A2D-9996-6EA35240B618}"/>
    <dgm:cxn modelId="{4F82E8E0-A780-4121-8EDF-8E939EA9F807}" type="presOf" srcId="{F643B988-2A90-4873-B5CA-453DA298463C}" destId="{9F990DF5-3ED1-4800-9771-23D90264A0C0}" srcOrd="0" destOrd="0" presId="urn:microsoft.com/office/officeart/2005/8/layout/chevron1"/>
    <dgm:cxn modelId="{92776776-F6EF-47D0-8F30-D2E327F660CE}" srcId="{796E92B3-ABAA-4E14-B79A-8CA573AF621E}" destId="{7AA38E2C-4A95-41D9-87DD-A5F5E1BC8CEB}" srcOrd="1" destOrd="0" parTransId="{9908A696-CC74-475D-90F3-653FC3205E40}" sibTransId="{14B6AE45-46C5-454B-850E-FD8EBC2AD0E5}"/>
    <dgm:cxn modelId="{566CC603-974C-4624-AD82-E5D1659ADF91}" type="presOf" srcId="{3513C167-D811-4754-9E40-5447623EA87C}" destId="{05E58393-B5E2-4C84-8483-753005D65625}" srcOrd="0" destOrd="0" presId="urn:microsoft.com/office/officeart/2005/8/layout/chevron1"/>
    <dgm:cxn modelId="{0C6A1A17-65E4-488B-9268-496C85E1ED56}" type="presOf" srcId="{DBC5D32E-4E3E-4B0E-8C64-2F421624F6AE}" destId="{27EDAFA1-3225-4EDD-954D-C3BD5F2F8732}" srcOrd="0" destOrd="0" presId="urn:microsoft.com/office/officeart/2005/8/layout/chevron1"/>
    <dgm:cxn modelId="{7248817E-E4A8-4740-BB90-D65CD15A97A1}" type="presParOf" srcId="{6F1592F6-9DFB-4038-A957-E68A690F5DA9}" destId="{62C4B467-EF0C-44C9-AFFA-7372424B5ABF}" srcOrd="0" destOrd="0" presId="urn:microsoft.com/office/officeart/2005/8/layout/chevron1"/>
    <dgm:cxn modelId="{F10622B9-9704-468B-A3B7-D697CCAA9F85}" type="presParOf" srcId="{6F1592F6-9DFB-4038-A957-E68A690F5DA9}" destId="{B5913B85-9AA6-4EEB-B5A0-858AC62C64B1}" srcOrd="1" destOrd="0" presId="urn:microsoft.com/office/officeart/2005/8/layout/chevron1"/>
    <dgm:cxn modelId="{993BB302-F4DB-4D88-A91C-D7D4AA3D4BD4}" type="presParOf" srcId="{6F1592F6-9DFB-4038-A957-E68A690F5DA9}" destId="{8119DC04-FA18-4C05-B4FC-463910C5561E}" srcOrd="2" destOrd="0" presId="urn:microsoft.com/office/officeart/2005/8/layout/chevron1"/>
    <dgm:cxn modelId="{144AD286-C07A-4CE2-964F-FB95C4C29F1E}" type="presParOf" srcId="{6F1592F6-9DFB-4038-A957-E68A690F5DA9}" destId="{4818F9EF-9843-4993-95AE-D172D59E0160}" srcOrd="3" destOrd="0" presId="urn:microsoft.com/office/officeart/2005/8/layout/chevron1"/>
    <dgm:cxn modelId="{56432B99-883D-490C-BDD7-85A8101D34B0}" type="presParOf" srcId="{6F1592F6-9DFB-4038-A957-E68A690F5DA9}" destId="{27EDAFA1-3225-4EDD-954D-C3BD5F2F8732}" srcOrd="4" destOrd="0" presId="urn:microsoft.com/office/officeart/2005/8/layout/chevron1"/>
    <dgm:cxn modelId="{EAF26FB0-6CE1-48D5-A21A-B1AF34F24D57}" type="presParOf" srcId="{6F1592F6-9DFB-4038-A957-E68A690F5DA9}" destId="{67DDC3E7-6E51-4E14-9456-208A15C80B00}" srcOrd="5" destOrd="0" presId="urn:microsoft.com/office/officeart/2005/8/layout/chevron1"/>
    <dgm:cxn modelId="{AA03807C-4C37-4905-9765-FB9957EA012D}" type="presParOf" srcId="{6F1592F6-9DFB-4038-A957-E68A690F5DA9}" destId="{9F990DF5-3ED1-4800-9771-23D90264A0C0}" srcOrd="6" destOrd="0" presId="urn:microsoft.com/office/officeart/2005/8/layout/chevron1"/>
    <dgm:cxn modelId="{3A97F8F9-BFCC-464E-9637-979EAAC5CC9B}" type="presParOf" srcId="{6F1592F6-9DFB-4038-A957-E68A690F5DA9}" destId="{53D1557E-D58F-4CE6-AA4E-2416187A93F5}" srcOrd="7" destOrd="0" presId="urn:microsoft.com/office/officeart/2005/8/layout/chevron1"/>
    <dgm:cxn modelId="{55649650-4D43-42F2-9190-FD06C2BFDD0C}" type="presParOf" srcId="{6F1592F6-9DFB-4038-A957-E68A690F5DA9}" destId="{05E58393-B5E2-4C84-8483-753005D65625}" srcOrd="8" destOrd="0" presId="urn:microsoft.com/office/officeart/2005/8/layout/chevron1"/>
  </dgm:cxnLst>
  <dgm:bg>
    <a:effectLst>
      <a:innerShdw blurRad="63500" dist="50800" dir="13500000">
        <a:prstClr val="black">
          <a:alpha val="50000"/>
        </a:prstClr>
      </a:inn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511BB1-79F1-42EE-8312-208437BB2228}">
      <dsp:nvSpPr>
        <dsp:cNvPr id="0" name=""/>
        <dsp:cNvSpPr/>
      </dsp:nvSpPr>
      <dsp:spPr>
        <a:xfrm>
          <a:off x="844371" y="1967553"/>
          <a:ext cx="1441628" cy="1004245"/>
        </a:xfrm>
        <a:prstGeom prst="roundRect">
          <a:avLst>
            <a:gd name="adj" fmla="val 10000"/>
          </a:avLst>
        </a:prstGeom>
        <a:solidFill>
          <a:schemeClr val="accent5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latin typeface="+mn-lt"/>
            </a:rPr>
            <a:t>Optimal Service Delivery </a:t>
          </a:r>
          <a:endParaRPr lang="en-US" sz="1600" b="0" kern="1200" dirty="0">
            <a:latin typeface="+mn-lt"/>
          </a:endParaRPr>
        </a:p>
      </dsp:txBody>
      <dsp:txXfrm>
        <a:off x="873784" y="1996966"/>
        <a:ext cx="1382802" cy="945419"/>
      </dsp:txXfrm>
    </dsp:sp>
    <dsp:sp modelId="{FC9F9868-865E-4D18-87F0-EE13709DB32D}">
      <dsp:nvSpPr>
        <dsp:cNvPr id="0" name=""/>
        <dsp:cNvSpPr/>
      </dsp:nvSpPr>
      <dsp:spPr>
        <a:xfrm rot="16827921">
          <a:off x="1757105" y="1820839"/>
          <a:ext cx="1292571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1292571" y="133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2371077" y="1801827"/>
        <a:ext cx="64628" cy="64628"/>
      </dsp:txXfrm>
    </dsp:sp>
    <dsp:sp modelId="{01ED2A97-06D6-4F3C-957A-BC9BC5199136}">
      <dsp:nvSpPr>
        <dsp:cNvPr id="0" name=""/>
        <dsp:cNvSpPr/>
      </dsp:nvSpPr>
      <dsp:spPr>
        <a:xfrm>
          <a:off x="2520783" y="838199"/>
          <a:ext cx="1441628" cy="720814"/>
        </a:xfrm>
        <a:prstGeom prst="roundRect">
          <a:avLst>
            <a:gd name="adj" fmla="val 10000"/>
          </a:avLst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latin typeface="+mn-lt"/>
            </a:rPr>
            <a:t>Reliability</a:t>
          </a:r>
          <a:endParaRPr lang="en-US" sz="1600" b="0" kern="1200" dirty="0">
            <a:latin typeface="+mn-lt"/>
          </a:endParaRPr>
        </a:p>
      </dsp:txBody>
      <dsp:txXfrm>
        <a:off x="2541895" y="859311"/>
        <a:ext cx="1399404" cy="678590"/>
      </dsp:txXfrm>
    </dsp:sp>
    <dsp:sp modelId="{BD3F9E64-8E56-41FE-A29F-486F60B13512}">
      <dsp:nvSpPr>
        <dsp:cNvPr id="0" name=""/>
        <dsp:cNvSpPr/>
      </dsp:nvSpPr>
      <dsp:spPr>
        <a:xfrm rot="17568957">
          <a:off x="3685923" y="769030"/>
          <a:ext cx="903219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903219" y="133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4114952" y="759752"/>
        <a:ext cx="45160" cy="45160"/>
      </dsp:txXfrm>
    </dsp:sp>
    <dsp:sp modelId="{390F56DE-1EFC-4DB0-B9AE-FC6C5B597D0B}">
      <dsp:nvSpPr>
        <dsp:cNvPr id="0" name=""/>
        <dsp:cNvSpPr/>
      </dsp:nvSpPr>
      <dsp:spPr>
        <a:xfrm>
          <a:off x="4312654" y="5652"/>
          <a:ext cx="1851310" cy="7208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  <a:latin typeface="+mn-lt"/>
            </a:rPr>
            <a:t>Planned schedule</a:t>
          </a:r>
          <a:endParaRPr lang="en-US" sz="1600" b="0" kern="1200" dirty="0">
            <a:solidFill>
              <a:schemeClr val="tx1"/>
            </a:solidFill>
            <a:latin typeface="+mn-lt"/>
          </a:endParaRPr>
        </a:p>
      </dsp:txBody>
      <dsp:txXfrm>
        <a:off x="4333766" y="26764"/>
        <a:ext cx="1809086" cy="678590"/>
      </dsp:txXfrm>
    </dsp:sp>
    <dsp:sp modelId="{1FC0E11A-1209-460D-AFAD-EF2D987A0F99}">
      <dsp:nvSpPr>
        <dsp:cNvPr id="0" name=""/>
        <dsp:cNvSpPr/>
      </dsp:nvSpPr>
      <dsp:spPr>
        <a:xfrm rot="21564555">
          <a:off x="3962402" y="1183498"/>
          <a:ext cx="350262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350262" y="133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4128776" y="1188044"/>
        <a:ext cx="17513" cy="17513"/>
      </dsp:txXfrm>
    </dsp:sp>
    <dsp:sp modelId="{6E82C3E9-4CC1-4061-AF31-210351641777}">
      <dsp:nvSpPr>
        <dsp:cNvPr id="0" name=""/>
        <dsp:cNvSpPr/>
      </dsp:nvSpPr>
      <dsp:spPr>
        <a:xfrm>
          <a:off x="4312654" y="834588"/>
          <a:ext cx="1851310" cy="7208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  <a:latin typeface="+mn-lt"/>
            </a:rPr>
            <a:t>Dispatch efficiency</a:t>
          </a:r>
          <a:endParaRPr lang="en-US" sz="1600" b="0" kern="1200" dirty="0">
            <a:solidFill>
              <a:schemeClr val="tx1"/>
            </a:solidFill>
            <a:latin typeface="+mn-lt"/>
          </a:endParaRPr>
        </a:p>
      </dsp:txBody>
      <dsp:txXfrm>
        <a:off x="4333766" y="855700"/>
        <a:ext cx="1809086" cy="678590"/>
      </dsp:txXfrm>
    </dsp:sp>
    <dsp:sp modelId="{FFE5EAA4-82C8-4DA4-AB50-559E310D95FE}">
      <dsp:nvSpPr>
        <dsp:cNvPr id="0" name=""/>
        <dsp:cNvSpPr/>
      </dsp:nvSpPr>
      <dsp:spPr>
        <a:xfrm rot="4020304">
          <a:off x="3689249" y="1597966"/>
          <a:ext cx="896566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896566" y="133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4115119" y="1588855"/>
        <a:ext cx="44828" cy="44828"/>
      </dsp:txXfrm>
    </dsp:sp>
    <dsp:sp modelId="{292C3DB7-A146-4822-BFED-705E251839B5}">
      <dsp:nvSpPr>
        <dsp:cNvPr id="0" name=""/>
        <dsp:cNvSpPr/>
      </dsp:nvSpPr>
      <dsp:spPr>
        <a:xfrm>
          <a:off x="4312654" y="1663524"/>
          <a:ext cx="1851310" cy="7208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  <a:latin typeface="+mn-lt"/>
            </a:rPr>
            <a:t>Improve run time</a:t>
          </a:r>
          <a:endParaRPr lang="en-US" sz="1600" b="0" kern="1200" dirty="0">
            <a:solidFill>
              <a:schemeClr val="tx1"/>
            </a:solidFill>
            <a:latin typeface="+mn-lt"/>
          </a:endParaRPr>
        </a:p>
      </dsp:txBody>
      <dsp:txXfrm>
        <a:off x="4333766" y="1684636"/>
        <a:ext cx="1809086" cy="678590"/>
      </dsp:txXfrm>
    </dsp:sp>
    <dsp:sp modelId="{D97F5B25-B1D6-44BA-9AD5-2073DCFBFC39}">
      <dsp:nvSpPr>
        <dsp:cNvPr id="0" name=""/>
        <dsp:cNvSpPr/>
      </dsp:nvSpPr>
      <dsp:spPr>
        <a:xfrm rot="4536660">
          <a:off x="1815794" y="3062437"/>
          <a:ext cx="1251383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1251383" y="133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2410201" y="3044455"/>
        <a:ext cx="62569" cy="62569"/>
      </dsp:txXfrm>
    </dsp:sp>
    <dsp:sp modelId="{202B48CB-5A68-4CB8-A70C-E085CAB26DB8}">
      <dsp:nvSpPr>
        <dsp:cNvPr id="0" name=""/>
        <dsp:cNvSpPr/>
      </dsp:nvSpPr>
      <dsp:spPr>
        <a:xfrm>
          <a:off x="2596973" y="3321397"/>
          <a:ext cx="1441628" cy="720814"/>
        </a:xfrm>
        <a:prstGeom prst="roundRect">
          <a:avLst>
            <a:gd name="adj" fmla="val 10000"/>
          </a:avLst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latin typeface="+mn-lt"/>
            </a:rPr>
            <a:t>Carrying Capacity</a:t>
          </a:r>
          <a:endParaRPr lang="en-US" sz="1600" b="0" kern="1200" dirty="0">
            <a:latin typeface="+mn-lt"/>
          </a:endParaRPr>
        </a:p>
      </dsp:txBody>
      <dsp:txXfrm>
        <a:off x="2618085" y="3342509"/>
        <a:ext cx="1399404" cy="678590"/>
      </dsp:txXfrm>
    </dsp:sp>
    <dsp:sp modelId="{EE735B75-59E1-49A5-91B2-90022882B659}">
      <dsp:nvSpPr>
        <dsp:cNvPr id="0" name=""/>
        <dsp:cNvSpPr/>
      </dsp:nvSpPr>
      <dsp:spPr>
        <a:xfrm rot="17297660">
          <a:off x="3739096" y="3254033"/>
          <a:ext cx="873063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873063" y="133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4153801" y="3245509"/>
        <a:ext cx="43653" cy="43653"/>
      </dsp:txXfrm>
    </dsp:sp>
    <dsp:sp modelId="{8E430327-E5ED-487C-ABF9-D526B49EB779}">
      <dsp:nvSpPr>
        <dsp:cNvPr id="0" name=""/>
        <dsp:cNvSpPr/>
      </dsp:nvSpPr>
      <dsp:spPr>
        <a:xfrm>
          <a:off x="4312654" y="2492461"/>
          <a:ext cx="1851310" cy="7208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  <a:latin typeface="+mn-lt"/>
            </a:rPr>
            <a:t>External constraints</a:t>
          </a:r>
          <a:endParaRPr lang="en-US" sz="1600" b="0" kern="1200" dirty="0">
            <a:solidFill>
              <a:schemeClr val="tx1"/>
            </a:solidFill>
            <a:latin typeface="+mn-lt"/>
          </a:endParaRPr>
        </a:p>
      </dsp:txBody>
      <dsp:txXfrm>
        <a:off x="4333766" y="2513573"/>
        <a:ext cx="1809086" cy="678590"/>
      </dsp:txXfrm>
    </dsp:sp>
    <dsp:sp modelId="{22454FD9-4E5F-479C-ADBE-22339052B2E3}">
      <dsp:nvSpPr>
        <dsp:cNvPr id="0" name=""/>
        <dsp:cNvSpPr/>
      </dsp:nvSpPr>
      <dsp:spPr>
        <a:xfrm>
          <a:off x="4038601" y="3668501"/>
          <a:ext cx="274053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274053" y="133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4168776" y="3674953"/>
        <a:ext cx="13702" cy="13702"/>
      </dsp:txXfrm>
    </dsp:sp>
    <dsp:sp modelId="{5D86BC73-389D-429D-8A7D-F2E20F352FFF}">
      <dsp:nvSpPr>
        <dsp:cNvPr id="0" name=""/>
        <dsp:cNvSpPr/>
      </dsp:nvSpPr>
      <dsp:spPr>
        <a:xfrm>
          <a:off x="4312654" y="3321397"/>
          <a:ext cx="1851310" cy="7208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  <a:latin typeface="+mn-lt"/>
            </a:rPr>
            <a:t>Infrastructure upgrades</a:t>
          </a:r>
          <a:endParaRPr lang="en-US" sz="1600" b="0" kern="1200" dirty="0">
            <a:solidFill>
              <a:schemeClr val="tx1"/>
            </a:solidFill>
            <a:latin typeface="+mn-lt"/>
          </a:endParaRPr>
        </a:p>
      </dsp:txBody>
      <dsp:txXfrm>
        <a:off x="4333766" y="3342509"/>
        <a:ext cx="1809086" cy="678590"/>
      </dsp:txXfrm>
    </dsp:sp>
    <dsp:sp modelId="{261A7271-4FF8-4CF4-8BCC-1F364B493CCF}">
      <dsp:nvSpPr>
        <dsp:cNvPr id="0" name=""/>
        <dsp:cNvSpPr/>
      </dsp:nvSpPr>
      <dsp:spPr>
        <a:xfrm rot="4302340">
          <a:off x="3739096" y="4082970"/>
          <a:ext cx="873063" cy="26604"/>
        </a:xfrm>
        <a:custGeom>
          <a:avLst/>
          <a:gdLst/>
          <a:ahLst/>
          <a:cxnLst/>
          <a:rect l="0" t="0" r="0" b="0"/>
          <a:pathLst>
            <a:path>
              <a:moveTo>
                <a:pt x="0" y="13302"/>
              </a:moveTo>
              <a:lnTo>
                <a:pt x="873063" y="1330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>
            <a:latin typeface="+mn-lt"/>
          </a:endParaRPr>
        </a:p>
      </dsp:txBody>
      <dsp:txXfrm>
        <a:off x="4153801" y="4074445"/>
        <a:ext cx="43653" cy="43653"/>
      </dsp:txXfrm>
    </dsp:sp>
    <dsp:sp modelId="{C0756B7F-BB35-46B8-9A30-4AB4E754F37B}">
      <dsp:nvSpPr>
        <dsp:cNvPr id="0" name=""/>
        <dsp:cNvSpPr/>
      </dsp:nvSpPr>
      <dsp:spPr>
        <a:xfrm>
          <a:off x="4312654" y="4150333"/>
          <a:ext cx="1851310" cy="7208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1"/>
              </a:solidFill>
              <a:latin typeface="+mn-lt"/>
            </a:rPr>
            <a:t>Vehicle design and quantity</a:t>
          </a:r>
        </a:p>
      </dsp:txBody>
      <dsp:txXfrm>
        <a:off x="4333766" y="4171445"/>
        <a:ext cx="1809086" cy="6785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C4B467-EF0C-44C9-AFFA-7372424B5ABF}">
      <dsp:nvSpPr>
        <dsp:cNvPr id="0" name=""/>
        <dsp:cNvSpPr/>
      </dsp:nvSpPr>
      <dsp:spPr>
        <a:xfrm>
          <a:off x="2046" y="473943"/>
          <a:ext cx="1821283" cy="728513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2015</a:t>
          </a:r>
          <a:endParaRPr lang="en-US" sz="2900" kern="1200" dirty="0"/>
        </a:p>
      </dsp:txBody>
      <dsp:txXfrm>
        <a:off x="366303" y="473943"/>
        <a:ext cx="1092770" cy="728513"/>
      </dsp:txXfrm>
    </dsp:sp>
    <dsp:sp modelId="{8119DC04-FA18-4C05-B4FC-463910C5561E}">
      <dsp:nvSpPr>
        <dsp:cNvPr id="0" name=""/>
        <dsp:cNvSpPr/>
      </dsp:nvSpPr>
      <dsp:spPr>
        <a:xfrm>
          <a:off x="1641201" y="473943"/>
          <a:ext cx="1821283" cy="728513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2016</a:t>
          </a:r>
          <a:endParaRPr lang="en-US" sz="2900" kern="1200" dirty="0"/>
        </a:p>
      </dsp:txBody>
      <dsp:txXfrm>
        <a:off x="2005458" y="473943"/>
        <a:ext cx="1092770" cy="728513"/>
      </dsp:txXfrm>
    </dsp:sp>
    <dsp:sp modelId="{27EDAFA1-3225-4EDD-954D-C3BD5F2F8732}">
      <dsp:nvSpPr>
        <dsp:cNvPr id="0" name=""/>
        <dsp:cNvSpPr/>
      </dsp:nvSpPr>
      <dsp:spPr>
        <a:xfrm>
          <a:off x="3280357" y="473943"/>
          <a:ext cx="1821283" cy="728513"/>
        </a:xfrm>
        <a:prstGeom prst="chevron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2017</a:t>
          </a:r>
          <a:endParaRPr lang="en-US" sz="2900" kern="1200" dirty="0"/>
        </a:p>
      </dsp:txBody>
      <dsp:txXfrm>
        <a:off x="3644614" y="473943"/>
        <a:ext cx="1092770" cy="728513"/>
      </dsp:txXfrm>
    </dsp:sp>
    <dsp:sp modelId="{9F990DF5-3ED1-4800-9771-23D90264A0C0}">
      <dsp:nvSpPr>
        <dsp:cNvPr id="0" name=""/>
        <dsp:cNvSpPr/>
      </dsp:nvSpPr>
      <dsp:spPr>
        <a:xfrm>
          <a:off x="4919512" y="473943"/>
          <a:ext cx="1821283" cy="728513"/>
        </a:xfrm>
        <a:prstGeom prst="chevron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2018</a:t>
          </a:r>
          <a:endParaRPr lang="en-US" sz="2900" kern="1200" dirty="0"/>
        </a:p>
      </dsp:txBody>
      <dsp:txXfrm>
        <a:off x="5283769" y="473943"/>
        <a:ext cx="1092770" cy="728513"/>
      </dsp:txXfrm>
    </dsp:sp>
    <dsp:sp modelId="{05E58393-B5E2-4C84-8483-753005D65625}">
      <dsp:nvSpPr>
        <dsp:cNvPr id="0" name=""/>
        <dsp:cNvSpPr/>
      </dsp:nvSpPr>
      <dsp:spPr>
        <a:xfrm>
          <a:off x="6558667" y="473943"/>
          <a:ext cx="1821283" cy="728513"/>
        </a:xfrm>
        <a:prstGeom prst="chevron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2019</a:t>
          </a:r>
          <a:endParaRPr lang="en-US" sz="2900" kern="1200" dirty="0"/>
        </a:p>
      </dsp:txBody>
      <dsp:txXfrm>
        <a:off x="6922924" y="473943"/>
        <a:ext cx="1092770" cy="7285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71697" cy="464503"/>
          </a:xfrm>
          <a:prstGeom prst="rect">
            <a:avLst/>
          </a:prstGeom>
        </p:spPr>
        <p:txBody>
          <a:bodyPr vert="horz" lIns="90949" tIns="45475" rIns="90949" bIns="4547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755" y="3"/>
            <a:ext cx="2971697" cy="464503"/>
          </a:xfrm>
          <a:prstGeom prst="rect">
            <a:avLst/>
          </a:prstGeom>
        </p:spPr>
        <p:txBody>
          <a:bodyPr vert="horz" lIns="90949" tIns="45475" rIns="90949" bIns="45475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0/23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317"/>
            <a:ext cx="2971697" cy="464503"/>
          </a:xfrm>
          <a:prstGeom prst="rect">
            <a:avLst/>
          </a:prstGeom>
        </p:spPr>
        <p:txBody>
          <a:bodyPr vert="horz" lIns="90949" tIns="45475" rIns="90949" bIns="454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755" y="8830317"/>
            <a:ext cx="2971697" cy="464503"/>
          </a:xfrm>
          <a:prstGeom prst="rect">
            <a:avLst/>
          </a:prstGeom>
        </p:spPr>
        <p:txBody>
          <a:bodyPr vert="horz" lIns="90949" tIns="45475" rIns="90949" bIns="45475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4573" tIns="47285" rIns="94573" bIns="4728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20" y="0"/>
            <a:ext cx="2971800" cy="464820"/>
          </a:xfrm>
          <a:prstGeom prst="rect">
            <a:avLst/>
          </a:prstGeom>
        </p:spPr>
        <p:txBody>
          <a:bodyPr vert="horz" lIns="94573" tIns="47285" rIns="94573" bIns="47285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0/23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64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73" tIns="47285" rIns="94573" bIns="4728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7"/>
            <a:ext cx="5486400" cy="4183380"/>
          </a:xfrm>
          <a:prstGeom prst="rect">
            <a:avLst/>
          </a:prstGeom>
        </p:spPr>
        <p:txBody>
          <a:bodyPr vert="horz" lIns="94573" tIns="47285" rIns="94573" bIns="4728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2"/>
            <a:ext cx="2971800" cy="464820"/>
          </a:xfrm>
          <a:prstGeom prst="rect">
            <a:avLst/>
          </a:prstGeom>
        </p:spPr>
        <p:txBody>
          <a:bodyPr vert="horz" lIns="94573" tIns="47285" rIns="94573" bIns="4728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20" y="8829972"/>
            <a:ext cx="2971800" cy="464820"/>
          </a:xfrm>
          <a:prstGeom prst="rect">
            <a:avLst/>
          </a:prstGeom>
        </p:spPr>
        <p:txBody>
          <a:bodyPr vert="horz" lIns="94573" tIns="47285" rIns="94573" bIns="47285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9950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1608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0504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4554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8340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26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4610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3147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2575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809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3624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6944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411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429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864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sz="1800" dirty="0"/>
          </a:p>
          <a:p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4225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7490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4298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846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122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69680" y="4438575"/>
            <a:ext cx="5357426" cy="420495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256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1225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416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7281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419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4563" y="4409771"/>
            <a:ext cx="5476478" cy="417767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803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emf"/><Relationship Id="rId5" Type="http://schemas.openxmlformats.org/officeDocument/2006/relationships/image" Target="../media/image4.emf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14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10/23/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October 23, 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theme" Target="../theme/theme1.xml"/><Relationship Id="rId29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MBTA_route_1_bus_at_MIT,_December_2016.JPG" TargetMode="External"/><Relationship Id="rId4" Type="http://schemas.openxmlformats.org/officeDocument/2006/relationships/hyperlink" Target="https://commons.wikimedia.org/wiki/User:Pi.1415926535" TargetMode="External"/><Relationship Id="rId5" Type="http://schemas.openxmlformats.org/officeDocument/2006/relationships/hyperlink" Target="https://creativecommons.org/licenses/by-sa/3.0/deed.en" TargetMode="External"/><Relationship Id="rId6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hyperlink" Target="https://en.wikipedia.org/wiki/Boston_University_Central_(MBTA_station)" TargetMode="External"/><Relationship Id="rId5" Type="http://schemas.openxmlformats.org/officeDocument/2006/relationships/hyperlink" Target="https://www.flickr.com/people/96146111@N00?rb=1" TargetMode="External"/><Relationship Id="rId6" Type="http://schemas.openxmlformats.org/officeDocument/2006/relationships/hyperlink" Target="https://creativecommons.org/licenses/by/2.0/deed.en" TargetMode="Externa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4" Type="http://schemas.openxmlformats.org/officeDocument/2006/relationships/hyperlink" Target="https://commons.wikimedia.org/wiki/User:AEMoreira042281" TargetMode="External"/><Relationship Id="rId5" Type="http://schemas.openxmlformats.org/officeDocument/2006/relationships/hyperlink" Target="https://creativecommons.org/licenses/by-sa/3.0/deed.en" TargetMode="External"/><Relationship Id="rId6" Type="http://schemas.openxmlformats.org/officeDocument/2006/relationships/image" Target="../media/image15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4" Type="http://schemas.openxmlformats.org/officeDocument/2006/relationships/hyperlink" Target="https://commons.wikimedia.org/wiki/User:AEMoreira042281" TargetMode="External"/><Relationship Id="rId5" Type="http://schemas.openxmlformats.org/officeDocument/2006/relationships/hyperlink" Target="https://creativecommons.org/licenses/by-sa/3.0/deed.en" TargetMode="External"/><Relationship Id="rId6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16.xml"/><Relationship Id="rId5" Type="http://schemas.openxmlformats.org/officeDocument/2006/relationships/image" Target="../media/image17.png"/><Relationship Id="rId1" Type="http://schemas.microsoft.com/office/2007/relationships/media" Target="../media/media1.mov"/><Relationship Id="rId2" Type="http://schemas.openxmlformats.org/officeDocument/2006/relationships/video" Target="../media/media1.mov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8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2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NULL" TargetMode="External"/><Relationship Id="rId4" Type="http://schemas.openxmlformats.org/officeDocument/2006/relationships/hyperlink" Target="https://commons.wikimedia.org/wiki/User:Pi.1415926535" TargetMode="External"/><Relationship Id="rId5" Type="http://schemas.openxmlformats.org/officeDocument/2006/relationships/hyperlink" Target="http://creativecommons.org/licenses/by-sa/3.0" TargetMode="External"/><Relationship Id="rId6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22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hyperlink" Target="https://commons.wikimedia.org/wiki/File:66_Bus_in_Harvard_Square_at_night.jpg" TargetMode="External"/><Relationship Id="rId5" Type="http://schemas.openxmlformats.org/officeDocument/2006/relationships/hyperlink" Target="https://www.flickr.com/people/8749778@N06?rb=1" TargetMode="External"/><Relationship Id="rId6" Type="http://schemas.openxmlformats.org/officeDocument/2006/relationships/hyperlink" Target="https://creativecommons.org/licenses/by-sa/2.0/deed.en" TargetMode="Externa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MBTA_route_22_bus_on_Talbot_Avenue,_September_2012.jpg" TargetMode="External"/><Relationship Id="rId4" Type="http://schemas.openxmlformats.org/officeDocument/2006/relationships/hyperlink" Target="https://commons.wikimedia.org/wiki/User:Pi.1415926535" TargetMode="External"/><Relationship Id="rId5" Type="http://schemas.openxmlformats.org/officeDocument/2006/relationships/hyperlink" Target="http://creativecommons.org/licenses/by-sa/3.0" TargetMode="External"/><Relationship Id="rId6" Type="http://schemas.openxmlformats.org/officeDocument/2006/relationships/image" Target="../media/image24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2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4" Type="http://schemas.openxmlformats.org/officeDocument/2006/relationships/hyperlink" Target="https://commons.wikimedia.org/wiki/File:MBTA_route_88_bus_on_Highland_Avenue_at_sunset,_July_2015.JPG" TargetMode="External"/><Relationship Id="rId5" Type="http://schemas.openxmlformats.org/officeDocument/2006/relationships/hyperlink" Target="https://commons.wikimedia.org/wiki/User:Pi.1415926535" TargetMode="External"/><Relationship Id="rId6" Type="http://schemas.openxmlformats.org/officeDocument/2006/relationships/hyperlink" Target="https://creativecommons.org/licenses/by-sa/3.0/deed.en" TargetMode="Externa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MBTA_route_39_bus_near_Forsyth_Street,_April_2010.jpg" TargetMode="External"/><Relationship Id="rId4" Type="http://schemas.openxmlformats.org/officeDocument/2006/relationships/hyperlink" Target="https://commons.wikimedia.org/wiki/File:MBTA_route_22_bus_on_Talbot_Avenue,_September_2012.jpg" TargetMode="External"/><Relationship Id="rId5" Type="http://schemas.openxmlformats.org/officeDocument/2006/relationships/hyperlink" Target="https://en.wikipedia.org/wiki/user:Grk1011?rdfrom=commons:User:Grk1011" TargetMode="External"/><Relationship Id="rId6" Type="http://schemas.openxmlformats.org/officeDocument/2006/relationships/hyperlink" Target="http://creativecommons.org/licenses/by-sa/3.0" TargetMode="External"/><Relationship Id="rId7" Type="http://schemas.openxmlformats.org/officeDocument/2006/relationships/image" Target="../media/image9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MBTA_Bus_Route_39.JPG" TargetMode="External"/><Relationship Id="rId4" Type="http://schemas.openxmlformats.org/officeDocument/2006/relationships/hyperlink" Target="https://commons.wikimedia.org/wiki/User:Grk1011" TargetMode="External"/><Relationship Id="rId5" Type="http://schemas.openxmlformats.org/officeDocument/2006/relationships/hyperlink" Target="https://creativecommons.org/licenses/by-sa/3.0/deed.en" TargetMode="External"/><Relationship Id="rId6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3962400"/>
            <a:ext cx="7751547" cy="466344"/>
          </a:xfrm>
        </p:spPr>
        <p:txBody>
          <a:bodyPr/>
          <a:lstStyle/>
          <a:p>
            <a:r>
              <a:rPr lang="en-US" b="0" dirty="0" smtClean="0"/>
              <a:t>Transit Signal Priority (TSP)</a:t>
            </a:r>
            <a:endParaRPr lang="en-U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0" dirty="0" smtClean="0">
                <a:solidFill>
                  <a:srgbClr val="00269E"/>
                </a:solidFill>
              </a:rPr>
              <a:t>October 23, 2017</a:t>
            </a:r>
            <a:endParaRPr lang="en-US" b="0" dirty="0">
              <a:solidFill>
                <a:srgbClr val="00269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5867400" cy="457200"/>
          </a:xfrm>
        </p:spPr>
        <p:txBody>
          <a:bodyPr/>
          <a:lstStyle/>
          <a:p>
            <a:r>
              <a:rPr b="0" dirty="0" smtClean="0">
                <a:solidFill>
                  <a:schemeClr val="tx1"/>
                </a:solidFill>
              </a:rPr>
              <a:t>Fiscal &amp; Management Control Board</a:t>
            </a:r>
            <a:endParaRPr lang="en-US" b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" y="-76200"/>
            <a:ext cx="9137388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-34834" y="-76200"/>
            <a:ext cx="9178834" cy="6934200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612" y="3427355"/>
            <a:ext cx="9137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u="sng" dirty="0" smtClean="0">
                <a:solidFill>
                  <a:schemeClr val="bg1"/>
                </a:solidFill>
                <a:latin typeface="+mj-lt"/>
              </a:rPr>
              <a:t>MBTA TSP Strateg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0" y="6566356"/>
            <a:ext cx="914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800" dirty="0"/>
              <a:t>Image Source: </a:t>
            </a:r>
            <a:r>
              <a:rPr lang="en-US" sz="800" dirty="0" smtClean="0"/>
              <a:t>MBTA</a:t>
            </a:r>
            <a:endParaRPr lang="en-US" sz="8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50830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MBTA TSP Pilot Strategy</a:t>
            </a:r>
            <a:endParaRPr lang="en-US" sz="2400" b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542260467"/>
              </p:ext>
            </p:extLst>
          </p:nvPr>
        </p:nvGraphicFramePr>
        <p:xfrm>
          <a:off x="381002" y="1600200"/>
          <a:ext cx="8381998" cy="167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3" name="Straight Connector 12"/>
          <p:cNvCxnSpPr/>
          <p:nvPr/>
        </p:nvCxnSpPr>
        <p:spPr>
          <a:xfrm>
            <a:off x="4343402" y="2941320"/>
            <a:ext cx="0" cy="1828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1371602" y="2941320"/>
            <a:ext cx="2740458" cy="182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r>
              <a:rPr lang="en-US" sz="2000" dirty="0" smtClean="0">
                <a:solidFill>
                  <a:schemeClr val="tx1"/>
                </a:solidFill>
              </a:rPr>
              <a:t>Develop TSP software and pilot on individual signal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572001" y="2438400"/>
            <a:ext cx="2133601" cy="22788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r>
              <a:rPr lang="en-US" sz="2000" dirty="0" smtClean="0">
                <a:solidFill>
                  <a:schemeClr val="tx1"/>
                </a:solidFill>
              </a:rPr>
              <a:t>Pilot TSP on corridors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6858002" y="2941320"/>
            <a:ext cx="0" cy="1828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6936944" y="2560320"/>
            <a:ext cx="1978456" cy="22240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r>
              <a:rPr lang="en-US" sz="2000" dirty="0" smtClean="0">
                <a:solidFill>
                  <a:schemeClr val="tx1"/>
                </a:solidFill>
              </a:rPr>
              <a:t>Roll out to high ridership corrido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8600" y="5257800"/>
            <a:ext cx="86105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+mj-lt"/>
              </a:rPr>
              <a:t>Municipal partnership has been continuously cultivated, and TSP implementation will continue with city/town support. </a:t>
            </a:r>
          </a:p>
        </p:txBody>
      </p:sp>
    </p:spTree>
    <p:extLst>
      <p:ext uri="{BB962C8B-B14F-4D97-AF65-F5344CB8AC3E}">
        <p14:creationId xmlns:p14="http://schemas.microsoft.com/office/powerpoint/2010/main" val="16278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TSP Signal Pilot Goals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Rectangle 9"/>
          <p:cNvSpPr/>
          <p:nvPr/>
        </p:nvSpPr>
        <p:spPr>
          <a:xfrm>
            <a:off x="152400" y="1447800"/>
            <a:ext cx="3962400" cy="487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82880" bIns="91440" numCol="1" rtlCol="0" anchor="ctr"/>
          <a:lstStyle/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Develop software to connect light rail, buses, and municipal signals</a:t>
            </a:r>
          </a:p>
          <a:p>
            <a:pPr marL="509587" lvl="0" indent="-285750"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tx1"/>
              </a:solidFill>
            </a:endParaRPr>
          </a:p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Develop protocols to send and receive TSP requests</a:t>
            </a:r>
          </a:p>
          <a:p>
            <a:pPr marL="509587" lvl="0" indent="-285750">
              <a:buFont typeface="Wingdings" panose="05000000000000000000" pitchFamily="2" charset="2"/>
              <a:buChar char="Ø"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Create a scalable, transferable, and </a:t>
            </a:r>
            <a:r>
              <a:rPr lang="en-US" sz="2000" dirty="0">
                <a:solidFill>
                  <a:schemeClr val="tx1"/>
                </a:solidFill>
              </a:rPr>
              <a:t>feasible </a:t>
            </a:r>
            <a:r>
              <a:rPr lang="en-US" sz="2000" dirty="0" smtClean="0">
                <a:solidFill>
                  <a:schemeClr val="tx1"/>
                </a:solidFill>
              </a:rPr>
              <a:t>implementation process</a:t>
            </a:r>
          </a:p>
          <a:p>
            <a:pPr marL="509587" lvl="0" indent="-285750">
              <a:buFont typeface="Wingdings" panose="05000000000000000000" pitchFamily="2" charset="2"/>
              <a:buChar char="Ø"/>
            </a:pPr>
            <a:endParaRPr lang="en-US" sz="1400" dirty="0">
              <a:solidFill>
                <a:schemeClr val="tx1"/>
              </a:solidFill>
            </a:endParaRPr>
          </a:p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Successfully give priority to MBTA vehicles in the fiel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6642556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4"/>
              </a:rPr>
              <a:t>Pi.1415926535</a:t>
            </a:r>
            <a:r>
              <a:rPr lang="en-US" sz="600" dirty="0" smtClean="0"/>
              <a:t> licensed under </a:t>
            </a:r>
            <a:r>
              <a:rPr lang="en-US" sz="600" dirty="0">
                <a:hlinkClick r:id="rId5"/>
              </a:rPr>
              <a:t>CC BY-SA 3.0</a:t>
            </a:r>
            <a:endParaRPr lang="en-US" sz="600" b="1" u="sng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9" r="9817"/>
          <a:stretch/>
        </p:blipFill>
        <p:spPr>
          <a:xfrm>
            <a:off x="4114800" y="1371600"/>
            <a:ext cx="46482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31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66"/>
          <a:stretch/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sp>
        <p:nvSpPr>
          <p:cNvPr id="9" name="TextBox 8">
            <a:hlinkClick r:id="rId4"/>
          </p:cNvPr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4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5"/>
              </a:rPr>
              <a:t>Mark </a:t>
            </a:r>
            <a:r>
              <a:rPr lang="en-US" sz="600" dirty="0" err="1" smtClean="0">
                <a:hlinkClick r:id="rId5"/>
              </a:rPr>
              <a:t>Zastrow</a:t>
            </a:r>
            <a:r>
              <a:rPr lang="en-US" sz="600" dirty="0" smtClean="0">
                <a:hlinkClick r:id="rId5"/>
              </a:rPr>
              <a:t> </a:t>
            </a:r>
            <a:r>
              <a:rPr lang="en-US" sz="600" dirty="0" smtClean="0"/>
              <a:t>licensed under </a:t>
            </a:r>
            <a:r>
              <a:rPr lang="en-US" sz="600" dirty="0">
                <a:hlinkClick r:id="rId6"/>
              </a:rPr>
              <a:t>CC BY 2.0</a:t>
            </a:r>
            <a:endParaRPr lang="en-US" sz="600" b="1" u="sng" dirty="0"/>
          </a:p>
        </p:txBody>
      </p:sp>
      <p:sp>
        <p:nvSpPr>
          <p:cNvPr id="12" name="Rectangle 11"/>
          <p:cNvSpPr/>
          <p:nvPr/>
        </p:nvSpPr>
        <p:spPr>
          <a:xfrm>
            <a:off x="-34834" y="-76200"/>
            <a:ext cx="9178834" cy="6934200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612" y="3427355"/>
            <a:ext cx="9137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u="sng" dirty="0" smtClean="0">
                <a:solidFill>
                  <a:schemeClr val="bg1"/>
                </a:solidFill>
                <a:latin typeface="+mj-lt"/>
              </a:rPr>
              <a:t>TSP Signal Pilot</a:t>
            </a:r>
          </a:p>
        </p:txBody>
      </p:sp>
    </p:spTree>
    <p:extLst>
      <p:ext uri="{BB962C8B-B14F-4D97-AF65-F5344CB8AC3E}">
        <p14:creationId xmlns:p14="http://schemas.microsoft.com/office/powerpoint/2010/main" val="2684963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TSP Signal Pilot Summary</a:t>
            </a:r>
            <a:endParaRPr lang="en-US" sz="2400" b="0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879133"/>
              </p:ext>
            </p:extLst>
          </p:nvPr>
        </p:nvGraphicFramePr>
        <p:xfrm>
          <a:off x="304800" y="2667000"/>
          <a:ext cx="8593014" cy="34761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81314"/>
                <a:gridCol w="2315401"/>
                <a:gridCol w="1305498"/>
                <a:gridCol w="1371600"/>
                <a:gridCol w="1219201"/>
              </a:tblGrid>
              <a:tr h="58904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gnal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erial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ode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ty/Town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ute or Branch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103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ookline St. (IB/OB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ssachusetts Ave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us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mbridg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T1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03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lton St. (IB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acon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ght Rail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ookline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ch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003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vans Way (IB/OB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untington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ve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ght Rail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st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ch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003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ngwood Ave. (IB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untington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ve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ght Rail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st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ch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0038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int </a:t>
                      </a: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ry’s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.</a:t>
                      </a:r>
                      <a:r>
                        <a:rPr lang="en-CA" sz="16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OB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mmonwealth Ave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ght Rail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st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ch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4963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lber Way (IB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mmonwealth Ave.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ght Rail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ston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 </a:t>
                      </a:r>
                      <a:r>
                        <a:rPr lang="en-CA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ch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1000" y="1421257"/>
            <a:ext cx="8440614" cy="1169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32" tIns="45716" rIns="91432" bIns="45716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Eight signals at six intersections in three municipalitie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Two modes: bus and light rail; three Green Line branche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Varying </a:t>
            </a:r>
            <a:r>
              <a:rPr lang="en-US" sz="2000" dirty="0" smtClean="0">
                <a:solidFill>
                  <a:schemeClr val="tx1"/>
                </a:solidFill>
              </a:rPr>
              <a:t>data collection time periods </a:t>
            </a:r>
            <a:r>
              <a:rPr lang="en-US" sz="2000" dirty="0">
                <a:solidFill>
                  <a:schemeClr val="tx1"/>
                </a:solidFill>
              </a:rPr>
              <a:t>– </a:t>
            </a:r>
            <a:r>
              <a:rPr lang="en-US" sz="2000" dirty="0" smtClean="0">
                <a:solidFill>
                  <a:schemeClr val="tx1"/>
                </a:solidFill>
              </a:rPr>
              <a:t>5 </a:t>
            </a:r>
            <a:r>
              <a:rPr lang="en-US" sz="2000" dirty="0">
                <a:solidFill>
                  <a:schemeClr val="tx1"/>
                </a:solidFill>
              </a:rPr>
              <a:t>to 9 </a:t>
            </a:r>
            <a:r>
              <a:rPr lang="en-US" sz="2000" dirty="0" smtClean="0">
                <a:solidFill>
                  <a:schemeClr val="tx1"/>
                </a:solidFill>
              </a:rPr>
              <a:t>days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76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 invalidUrl="https://en.wikipedia.org/wiki/Green_Line_&quot;B&quot;_Branch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4"/>
              </a:rPr>
              <a:t>Adam E. Moreira</a:t>
            </a:r>
            <a:r>
              <a:rPr lang="en-US" sz="600" dirty="0" smtClean="0"/>
              <a:t> licensed under </a:t>
            </a:r>
            <a:r>
              <a:rPr lang="en-US" sz="600" dirty="0" smtClean="0">
                <a:hlinkClick r:id="rId5"/>
              </a:rPr>
              <a:t>CC BY-SA 3.0</a:t>
            </a:r>
            <a:endParaRPr lang="en-US" sz="600" b="1" u="sng" dirty="0" smtClean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7200" y="1371600"/>
            <a:ext cx="3810000" cy="4800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lvl="0"/>
            <a:r>
              <a:rPr lang="en-US" sz="2000" dirty="0" smtClean="0">
                <a:solidFill>
                  <a:schemeClr val="tx1"/>
                </a:solidFill>
              </a:rPr>
              <a:t>Results from 9 days </a:t>
            </a:r>
            <a:r>
              <a:rPr lang="en-US" sz="2000" dirty="0">
                <a:solidFill>
                  <a:schemeClr val="tx1"/>
                </a:solidFill>
              </a:rPr>
              <a:t>of data </a:t>
            </a:r>
            <a:r>
              <a:rPr lang="en-US" sz="2000" dirty="0" smtClean="0">
                <a:solidFill>
                  <a:schemeClr val="tx1"/>
                </a:solidFill>
              </a:rPr>
              <a:t>from 5 signals at AM peak:</a:t>
            </a:r>
            <a:endParaRPr lang="en-US" sz="2000" dirty="0">
              <a:solidFill>
                <a:schemeClr val="tx1"/>
              </a:solidFill>
            </a:endParaRPr>
          </a:p>
          <a:p>
            <a:pPr marL="457200" lvl="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800" dirty="0" smtClean="0">
              <a:solidFill>
                <a:schemeClr val="tx1"/>
              </a:solidFill>
            </a:endParaRPr>
          </a:p>
          <a:p>
            <a:pPr marL="45720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riority was granted 390 times</a:t>
            </a:r>
          </a:p>
          <a:p>
            <a:pPr marL="45720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45720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Green-light-time extended by 14 seconds (average)</a:t>
            </a:r>
          </a:p>
          <a:p>
            <a:pPr marL="457200" lvl="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45720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Red-light-time reduced by 8 </a:t>
            </a:r>
            <a:r>
              <a:rPr lang="en-US" dirty="0">
                <a:solidFill>
                  <a:schemeClr val="tx1"/>
                </a:solidFill>
              </a:rPr>
              <a:t>seconds </a:t>
            </a:r>
            <a:r>
              <a:rPr lang="en-US" dirty="0" smtClean="0">
                <a:solidFill>
                  <a:schemeClr val="tx1"/>
                </a:solidFill>
              </a:rPr>
              <a:t>(average)</a:t>
            </a:r>
          </a:p>
          <a:p>
            <a:pPr marL="45720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45720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No demonstrable negative effect to general traffic</a:t>
            </a:r>
          </a:p>
          <a:p>
            <a:pPr marL="45720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tx1"/>
              </a:solidFill>
            </a:endParaRPr>
          </a:p>
          <a:p>
            <a:pPr marL="45720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Operational since May 2017</a:t>
            </a:r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Signal Pilot Results – Green Line B &amp; E Branches</a:t>
            </a:r>
            <a:endParaRPr lang="en-US" sz="2400" b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48" r="10714"/>
          <a:stretch/>
        </p:blipFill>
        <p:spPr>
          <a:xfrm>
            <a:off x="4343400" y="1371600"/>
            <a:ext cx="4495800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43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 invalidUrl="https://en.wikipedia.org/wiki/Green_Line_&quot;B&quot;_Branch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4"/>
              </a:rPr>
              <a:t>Adam E. Moreira</a:t>
            </a:r>
            <a:r>
              <a:rPr lang="en-US" sz="600" dirty="0" smtClean="0"/>
              <a:t> licensed under </a:t>
            </a:r>
            <a:r>
              <a:rPr lang="en-US" sz="600" dirty="0" smtClean="0">
                <a:hlinkClick r:id="rId5"/>
              </a:rPr>
              <a:t>CC BY-SA 3.0</a:t>
            </a:r>
            <a:endParaRPr lang="en-US" sz="600" b="1" u="sng" dirty="0" smtClean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1000" y="1295400"/>
            <a:ext cx="3967633" cy="4800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lvl="0"/>
            <a:r>
              <a:rPr lang="en-US" sz="2000" dirty="0" smtClean="0">
                <a:solidFill>
                  <a:schemeClr val="tx1"/>
                </a:solidFill>
              </a:rPr>
              <a:t>Results from 5 days of data from 1 signal at AM peak:</a:t>
            </a:r>
          </a:p>
          <a:p>
            <a:pPr lvl="0"/>
            <a:endParaRPr lang="en-US" sz="1200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Priority was granted 83 times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Green-light-time extended by 10 seconds (average)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Red-light-time reduced by 6 </a:t>
            </a:r>
            <a:r>
              <a:rPr lang="en-US" dirty="0">
                <a:solidFill>
                  <a:schemeClr val="tx1"/>
                </a:solidFill>
              </a:rPr>
              <a:t>seconds </a:t>
            </a:r>
            <a:r>
              <a:rPr lang="en-US" dirty="0" smtClean="0">
                <a:solidFill>
                  <a:schemeClr val="tx1"/>
                </a:solidFill>
              </a:rPr>
              <a:t>(average)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No demonstrable negative effect to general traffic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Operational since June 2017</a:t>
            </a:r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Signal Pilot Results –Green Line C Branch</a:t>
            </a:r>
            <a:endParaRPr lang="en-US" sz="2400" b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8" r="14286"/>
          <a:stretch/>
        </p:blipFill>
        <p:spPr>
          <a:xfrm>
            <a:off x="4419600" y="1447800"/>
            <a:ext cx="4343400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85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Signal Pilot Results – Bus Routes 1 &amp; CT1 </a:t>
            </a:r>
            <a:r>
              <a:rPr lang="en-US" sz="1800" b="0" dirty="0" smtClean="0"/>
              <a:t>(Video)</a:t>
            </a:r>
            <a:endParaRPr lang="en-US" sz="1800" b="0" dirty="0"/>
          </a:p>
        </p:txBody>
      </p:sp>
      <p:pic>
        <p:nvPicPr>
          <p:cNvPr id="2" name="TSP-CentralSquare-v2-1080p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 cstate="print"/>
          <a:stretch>
            <a:fillRect/>
          </a:stretch>
        </p:blipFill>
        <p:spPr>
          <a:xfrm>
            <a:off x="462684" y="1497796"/>
            <a:ext cx="8365067" cy="470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573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Signal Pilot Results – Lessons Learned</a:t>
            </a:r>
            <a:endParaRPr lang="en-US" sz="2400" b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37" r="14078"/>
          <a:stretch/>
        </p:blipFill>
        <p:spPr>
          <a:xfrm>
            <a:off x="4267200" y="1374648"/>
            <a:ext cx="4495800" cy="487375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4800" y="1371600"/>
            <a:ext cx="3962400" cy="487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82880" bIns="91440" numCol="1" rtlCol="0" anchor="ctr"/>
          <a:lstStyle/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TSP moves buses and train through signals faster.</a:t>
            </a:r>
          </a:p>
          <a:p>
            <a:pPr marL="509587" lvl="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1"/>
              </a:solidFill>
            </a:endParaRPr>
          </a:p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Impact on customers is difficult to measure at the signal-level. A corridor approach is recommended. </a:t>
            </a:r>
          </a:p>
          <a:p>
            <a:pPr marL="509587" lvl="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1"/>
              </a:solidFill>
            </a:endParaRPr>
          </a:p>
          <a:p>
            <a:pPr marL="509587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Success depends on fast processing time, municipal support, and internal resources.</a:t>
            </a:r>
          </a:p>
        </p:txBody>
      </p:sp>
    </p:spTree>
    <p:extLst>
      <p:ext uri="{BB962C8B-B14F-4D97-AF65-F5344CB8AC3E}">
        <p14:creationId xmlns:p14="http://schemas.microsoft.com/office/powerpoint/2010/main" val="268503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834" y="0"/>
            <a:ext cx="9178834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6400800"/>
            <a:ext cx="914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800" dirty="0"/>
              <a:t>Image </a:t>
            </a:r>
            <a:r>
              <a:rPr lang="en-US" sz="800" dirty="0" smtClean="0"/>
              <a:t>Credit: @</a:t>
            </a:r>
            <a:r>
              <a:rPr lang="en-US" sz="800" dirty="0" err="1" smtClean="0"/>
              <a:t>milesonthembta</a:t>
            </a:r>
            <a:endParaRPr lang="en-US" sz="800" b="1" u="sng" dirty="0" smtClean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41922" y="-76200"/>
            <a:ext cx="9178834" cy="6934200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-49010" y="3427355"/>
            <a:ext cx="9193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dirty="0" smtClean="0">
                <a:solidFill>
                  <a:schemeClr val="bg1"/>
                </a:solidFill>
                <a:latin typeface="+mj-lt"/>
              </a:rPr>
              <a:t>Proposed TSP Corridor Pilots</a:t>
            </a:r>
          </a:p>
        </p:txBody>
      </p:sp>
    </p:spTree>
    <p:extLst>
      <p:ext uri="{BB962C8B-B14F-4D97-AF65-F5344CB8AC3E}">
        <p14:creationId xmlns:p14="http://schemas.microsoft.com/office/powerpoint/2010/main" val="380930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Overview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4" name="TextBox 3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/>
              <a:t>Image Source: </a:t>
            </a:r>
            <a:r>
              <a:rPr lang="en-US" sz="600" dirty="0" smtClean="0"/>
              <a:t>AC Transit</a:t>
            </a:r>
            <a:endParaRPr lang="en-US" sz="600" b="1" u="sng" dirty="0" smtClean="0">
              <a:latin typeface="+mj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5" y="1752600"/>
            <a:ext cx="4829175" cy="39624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21231" y="1758726"/>
            <a:ext cx="1295400" cy="6858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298642" y="1371600"/>
            <a:ext cx="3845358" cy="4809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numCol="1" rtlCol="0" anchor="ctr"/>
          <a:lstStyle/>
          <a:p>
            <a:pPr marL="37719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Service Delivery Context</a:t>
            </a:r>
          </a:p>
          <a:p>
            <a:pPr marL="377190" indent="-285750"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37719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About TSP</a:t>
            </a:r>
          </a:p>
          <a:p>
            <a:pPr marL="377190" indent="-285750"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37719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MBTA TSP Strategy</a:t>
            </a:r>
          </a:p>
          <a:p>
            <a:pPr marL="377190" indent="-285750"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37719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TSP Signal Pilot Results</a:t>
            </a:r>
          </a:p>
          <a:p>
            <a:pPr marL="377190" indent="-285750"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37719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Proposed TSP Corridor Pilots</a:t>
            </a:r>
          </a:p>
          <a:p>
            <a:pPr marL="377190" indent="-285750"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37719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Proposed TSP Roll Out Strateg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95400" y="5606534"/>
            <a:ext cx="381000" cy="3370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9786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829056"/>
            <a:ext cx="8229600" cy="466344"/>
          </a:xfrm>
        </p:spPr>
        <p:txBody>
          <a:bodyPr/>
          <a:lstStyle/>
          <a:p>
            <a:r>
              <a:rPr lang="en-US" sz="2400" b="0" dirty="0" smtClean="0"/>
              <a:t>Four TSP </a:t>
            </a:r>
            <a:r>
              <a:rPr lang="en-US" sz="2400" b="0" dirty="0"/>
              <a:t>Corridor </a:t>
            </a:r>
            <a:r>
              <a:rPr lang="en-US" sz="2400" b="0" dirty="0" smtClean="0"/>
              <a:t>Pilots Proposed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5" r="23554"/>
          <a:stretch/>
        </p:blipFill>
        <p:spPr>
          <a:xfrm>
            <a:off x="3962400" y="1371600"/>
            <a:ext cx="4800601" cy="48577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57201" y="1371600"/>
            <a:ext cx="3429000" cy="4857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Beacon </a:t>
            </a:r>
            <a:r>
              <a:rPr lang="en-US" sz="2000" dirty="0">
                <a:solidFill>
                  <a:schemeClr val="tx1"/>
                </a:solidFill>
              </a:rPr>
              <a:t>Street in Brookline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Commonwealth Avenue in Boston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Huntington Avenue in Boston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Massachusetts Avenue in Cambridge</a:t>
            </a:r>
          </a:p>
        </p:txBody>
      </p:sp>
    </p:spTree>
    <p:extLst>
      <p:ext uri="{BB962C8B-B14F-4D97-AF65-F5344CB8AC3E}">
        <p14:creationId xmlns:p14="http://schemas.microsoft.com/office/powerpoint/2010/main" val="173453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829056"/>
            <a:ext cx="8229600" cy="466344"/>
          </a:xfrm>
        </p:spPr>
        <p:txBody>
          <a:bodyPr/>
          <a:lstStyle/>
          <a:p>
            <a:r>
              <a:rPr lang="en-US" sz="2400" b="0" dirty="0" smtClean="0"/>
              <a:t>Proposed Green Line Pilot Corridors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 invalidUrl="https://en.wikipedia.org/wiki/St._Paul_Street_(MBTA_Green_Line_&quot;C&quot;_Branch_station)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4"/>
              </a:rPr>
              <a:t>Pi.1415926535</a:t>
            </a:r>
            <a:r>
              <a:rPr lang="en-US" sz="600" dirty="0" smtClean="0"/>
              <a:t> </a:t>
            </a:r>
            <a:r>
              <a:rPr lang="en-US" sz="600" dirty="0"/>
              <a:t>licensed </a:t>
            </a:r>
            <a:r>
              <a:rPr lang="en-US" sz="600" dirty="0" smtClean="0"/>
              <a:t>under </a:t>
            </a:r>
            <a:r>
              <a:rPr lang="en-US" sz="600" dirty="0" smtClean="0">
                <a:hlinkClick r:id="rId5"/>
              </a:rPr>
              <a:t>CC BY-SA 3.0</a:t>
            </a:r>
            <a:endParaRPr lang="en-US" sz="600" b="1" u="sng" dirty="0" smtClean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2684" y="1371600"/>
            <a:ext cx="4495800" cy="4857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lvl="0">
              <a:lnSpc>
                <a:spcPct val="150000"/>
              </a:lnSpc>
            </a:pPr>
            <a:r>
              <a:rPr lang="en-US" sz="2000" dirty="0">
                <a:solidFill>
                  <a:schemeClr val="tx1"/>
                </a:solidFill>
              </a:rPr>
              <a:t>Beacon Street</a:t>
            </a:r>
            <a:r>
              <a:rPr lang="en-US" sz="2000" dirty="0" smtClean="0">
                <a:solidFill>
                  <a:schemeClr val="tx1"/>
                </a:solidFill>
              </a:rPr>
              <a:t>: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9 </a:t>
            </a:r>
            <a:r>
              <a:rPr lang="en-US" dirty="0">
                <a:solidFill>
                  <a:schemeClr val="tx1"/>
                </a:solidFill>
              </a:rPr>
              <a:t>additional signals </a:t>
            </a:r>
            <a:r>
              <a:rPr lang="en-US" dirty="0" smtClean="0">
                <a:solidFill>
                  <a:schemeClr val="tx1"/>
                </a:solidFill>
              </a:rPr>
              <a:t>serving </a:t>
            </a:r>
            <a:r>
              <a:rPr lang="en-US" dirty="0">
                <a:solidFill>
                  <a:schemeClr val="tx1"/>
                </a:solidFill>
              </a:rPr>
              <a:t>the Green Line C branch</a:t>
            </a:r>
          </a:p>
          <a:p>
            <a:pPr lvl="0"/>
            <a:endParaRPr lang="en-US" sz="2000" dirty="0" smtClean="0">
              <a:solidFill>
                <a:schemeClr val="tx1"/>
              </a:solidFill>
            </a:endParaRPr>
          </a:p>
          <a:p>
            <a:pPr lvl="0"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Commonwealth Avenue: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20 additional signals serving the Green Line B branch</a:t>
            </a:r>
          </a:p>
          <a:p>
            <a:pPr lvl="0"/>
            <a:endParaRPr lang="en-US" dirty="0" smtClean="0">
              <a:solidFill>
                <a:schemeClr val="tx1"/>
              </a:solidFill>
            </a:endParaRPr>
          </a:p>
          <a:p>
            <a:pPr lvl="0"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Huntington Avenue:</a:t>
            </a:r>
            <a:endParaRPr lang="en-US" sz="2000" dirty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10 additional signals serving the Green Line E branch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90" r="28259"/>
          <a:stretch/>
        </p:blipFill>
        <p:spPr>
          <a:xfrm>
            <a:off x="4953000" y="1371599"/>
            <a:ext cx="3886200" cy="485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689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829056"/>
            <a:ext cx="8229600" cy="466344"/>
          </a:xfrm>
        </p:spPr>
        <p:txBody>
          <a:bodyPr/>
          <a:lstStyle/>
          <a:p>
            <a:r>
              <a:rPr lang="en-US" sz="2400" b="0" dirty="0" smtClean="0"/>
              <a:t>Proposed Bus Pilot Corridor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2" name="Rectangle 11"/>
          <p:cNvSpPr/>
          <p:nvPr/>
        </p:nvSpPr>
        <p:spPr>
          <a:xfrm>
            <a:off x="381000" y="1371600"/>
            <a:ext cx="4343400" cy="4857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lvl="0">
              <a:lnSpc>
                <a:spcPct val="150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Massachusetts Avenue: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50 additional signals between the Boston and Arlington borders in Cambridge.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Serving segments of bus routes: 1, CT1, 47, 64, 68, 69, 70, 70A, 71, 72, 73, 74, 75, 77, 77A, 78, 83, 86, 96</a:t>
            </a:r>
            <a:endParaRPr lang="en-US" sz="1900" dirty="0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/>
              <a:t>Image Source: @</a:t>
            </a:r>
            <a:r>
              <a:rPr lang="en-US" sz="600" dirty="0" err="1"/>
              <a:t>milesontheMBTA</a:t>
            </a:r>
            <a:endParaRPr lang="en-US" sz="600" b="1" u="sng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70" r="15294"/>
          <a:stretch/>
        </p:blipFill>
        <p:spPr>
          <a:xfrm>
            <a:off x="4754211" y="1524000"/>
            <a:ext cx="4084989" cy="448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64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2684" y="869537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Estimated Cost for Proposed Corridor Pilots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111204"/>
              </p:ext>
            </p:extLst>
          </p:nvPr>
        </p:nvGraphicFramePr>
        <p:xfrm>
          <a:off x="1524000" y="1440890"/>
          <a:ext cx="6019800" cy="3960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7262"/>
                <a:gridCol w="3285392"/>
                <a:gridCol w="1077146"/>
              </a:tblGrid>
              <a:tr h="7600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it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r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Town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ilot Corrid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# Signal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Bos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Commonwealth Aven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0</a:t>
                      </a:r>
                      <a:endParaRPr lang="en-US" sz="2000" dirty="0"/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Bos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Huntington Avenue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0</a:t>
                      </a:r>
                      <a:endParaRPr lang="en-US" sz="2000" dirty="0"/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Brookline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Beacon Street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9</a:t>
                      </a:r>
                      <a:endParaRPr lang="en-US" sz="2000" dirty="0"/>
                    </a:p>
                  </a:txBody>
                  <a:tcPr anchor="ctr"/>
                </a:tc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Cambridge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Massachusetts</a:t>
                      </a:r>
                      <a:r>
                        <a:rPr lang="en-US" sz="2000" baseline="0" dirty="0" smtClean="0"/>
                        <a:t> Avenue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50</a:t>
                      </a:r>
                      <a:endParaRPr lang="en-US" sz="2000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89</a:t>
                      </a:r>
                      <a:endParaRPr lang="en-US" sz="20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28600" y="5715000"/>
            <a:ext cx="8534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342900">
              <a:buFont typeface="Wingdings" panose="05000000000000000000" pitchFamily="2" charset="2"/>
              <a:buChar char="Ø"/>
            </a:pPr>
            <a:r>
              <a:rPr lang="en-US" sz="2000" dirty="0" smtClean="0">
                <a:latin typeface="+mj-lt"/>
              </a:rPr>
              <a:t>Estimated pilot cost: $1.125 million, or $12,640 per signal</a:t>
            </a:r>
          </a:p>
        </p:txBody>
      </p:sp>
    </p:spTree>
    <p:extLst>
      <p:ext uri="{BB962C8B-B14F-4D97-AF65-F5344CB8AC3E}">
        <p14:creationId xmlns:p14="http://schemas.microsoft.com/office/powerpoint/2010/main" val="3749773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553"/>
          <a:stretch/>
        </p:blipFill>
        <p:spPr>
          <a:xfrm>
            <a:off x="-1" y="17244"/>
            <a:ext cx="9144001" cy="684075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6400800"/>
            <a:ext cx="9144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000" dirty="0" smtClean="0">
                <a:hlinkClick r:id="rId4"/>
              </a:rPr>
              <a:t>Image</a:t>
            </a:r>
            <a:r>
              <a:rPr lang="en-US" sz="1000" dirty="0" smtClean="0"/>
              <a:t> by </a:t>
            </a:r>
            <a:r>
              <a:rPr lang="en-US" sz="1000" dirty="0" smtClean="0">
                <a:hlinkClick r:id="rId5"/>
              </a:rPr>
              <a:t>Eric </a:t>
            </a:r>
            <a:r>
              <a:rPr lang="en-US" sz="1000" dirty="0" err="1" smtClean="0">
                <a:hlinkClick r:id="rId5"/>
              </a:rPr>
              <a:t>Kilby</a:t>
            </a:r>
            <a:r>
              <a:rPr lang="en-US" sz="1000" dirty="0" smtClean="0">
                <a:hlinkClick r:id="rId5"/>
              </a:rPr>
              <a:t> </a:t>
            </a:r>
            <a:r>
              <a:rPr lang="en-US" sz="1000" dirty="0" smtClean="0"/>
              <a:t>licensed under </a:t>
            </a:r>
            <a:r>
              <a:rPr lang="en-US" sz="1000" dirty="0" smtClean="0">
                <a:hlinkClick r:id="rId6"/>
              </a:rPr>
              <a:t>CC BY-SA 2.0</a:t>
            </a:r>
            <a:endParaRPr lang="en-US" sz="1000" b="1" u="sng" dirty="0" smtClean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4778" y="0"/>
            <a:ext cx="9099222" cy="6857999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3427355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solidFill>
                  <a:schemeClr val="bg1"/>
                </a:solidFill>
              </a:rPr>
              <a:t>Proposed TSP Roll Out Strategy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377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Post-Pilot TSP Roll Out Strategy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9" name="TextBox 8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4" tooltip="User:Pi.1415926535"/>
              </a:rPr>
              <a:t>Pi.1415926535</a:t>
            </a:r>
            <a:r>
              <a:rPr lang="en-US" sz="600" dirty="0" smtClean="0"/>
              <a:t> licensed under </a:t>
            </a:r>
            <a:r>
              <a:rPr lang="en-US" sz="600" dirty="0">
                <a:hlinkClick r:id="rId5"/>
              </a:rPr>
              <a:t>CC BY-SA </a:t>
            </a:r>
            <a:r>
              <a:rPr lang="en-US" sz="600" dirty="0" smtClean="0">
                <a:hlinkClick r:id="rId5"/>
              </a:rPr>
              <a:t>3.0</a:t>
            </a:r>
            <a:endParaRPr lang="en-US" sz="600" b="1" u="sng" dirty="0" smtClean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3" t="8198" r="16871" b="9835"/>
          <a:stretch/>
        </p:blipFill>
        <p:spPr>
          <a:xfrm>
            <a:off x="3810000" y="1442499"/>
            <a:ext cx="4953000" cy="473865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1000" y="1442498"/>
            <a:ext cx="3352800" cy="4738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457200" indent="-457200">
              <a:buFont typeface="+mj-lt"/>
              <a:buAutoNum type="arabicPeriod"/>
            </a:pPr>
            <a:r>
              <a:rPr lang="en-US" sz="2000" dirty="0" smtClean="0">
                <a:solidFill>
                  <a:schemeClr val="tx1"/>
                </a:solidFill>
              </a:rPr>
              <a:t>Focus on high-ridership, high-delay corridors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>
                <a:solidFill>
                  <a:schemeClr val="tx1"/>
                </a:solidFill>
              </a:rPr>
              <a:t>“Piggyback” on other traffic signal projects to add TSP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>
                <a:solidFill>
                  <a:schemeClr val="tx1"/>
                </a:solidFill>
              </a:rPr>
              <a:t>Emphasis on municipalities eager to partner</a:t>
            </a:r>
          </a:p>
          <a:p>
            <a:pPr marL="457200" indent="-457200">
              <a:buFont typeface="+mj-lt"/>
              <a:buAutoNum type="arabicPeriod"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>
                <a:solidFill>
                  <a:schemeClr val="tx1"/>
                </a:solidFill>
              </a:rPr>
              <a:t>Concentrate on dedicated bus lane corridor candidates</a:t>
            </a:r>
          </a:p>
        </p:txBody>
      </p:sp>
    </p:spTree>
    <p:extLst>
      <p:ext uri="{BB962C8B-B14F-4D97-AF65-F5344CB8AC3E}">
        <p14:creationId xmlns:p14="http://schemas.microsoft.com/office/powerpoint/2010/main" val="3570300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1" y="830808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Roll Out: High Ridership &amp; High Delay TSP Corridors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400800"/>
            <a:ext cx="914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" panose="020B0604020202020204" pitchFamily="34" charset="0"/>
              </a:rPr>
              <a:t>Image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800" dirty="0" smtClean="0">
                <a:solidFill>
                  <a:srgbClr val="000000"/>
                </a:solidFill>
                <a:latin typeface="arial" panose="020B0604020202020204" pitchFamily="34" charset="0"/>
              </a:rPr>
              <a:t>by CTPS</a:t>
            </a:r>
            <a:endParaRPr lang="en-US" sz="800" dirty="0"/>
          </a:p>
        </p:txBody>
      </p:sp>
      <p:sp>
        <p:nvSpPr>
          <p:cNvPr id="8" name="Rectangle 7"/>
          <p:cNvSpPr/>
          <p:nvPr/>
        </p:nvSpPr>
        <p:spPr>
          <a:xfrm>
            <a:off x="4732076" y="1418470"/>
            <a:ext cx="4107124" cy="4753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274320" lvl="0"/>
            <a:r>
              <a:rPr lang="en-US" sz="2000" dirty="0" smtClean="0">
                <a:solidFill>
                  <a:schemeClr val="tx1"/>
                </a:solidFill>
              </a:rPr>
              <a:t>2016 CTPS study of high-ridership bus corridors with high rates of delay.</a:t>
            </a:r>
          </a:p>
          <a:p>
            <a:pPr lvl="0"/>
            <a:endParaRPr lang="en-US" sz="2000" b="1" dirty="0" smtClean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Roads identified in 20 communities serving dozens of MBTA bus routes.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All Key Bus Routes operate on parts of these corridors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1418470"/>
            <a:ext cx="4274875" cy="4753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13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829056"/>
            <a:ext cx="8229600" cy="466344"/>
          </a:xfrm>
        </p:spPr>
        <p:txBody>
          <a:bodyPr/>
          <a:lstStyle/>
          <a:p>
            <a:r>
              <a:rPr lang="en-US" sz="2400" b="0" dirty="0" smtClean="0"/>
              <a:t>Roll Out: Piggybacking on Existing Projects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/>
              <a:t>Image Credit: @</a:t>
            </a:r>
            <a:r>
              <a:rPr lang="en-US" sz="600" dirty="0" err="1"/>
              <a:t>milesonthembta</a:t>
            </a:r>
            <a:endParaRPr lang="en-US" sz="600" b="1" u="sng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8" r="25882"/>
          <a:stretch/>
        </p:blipFill>
        <p:spPr>
          <a:xfrm>
            <a:off x="4419600" y="1390650"/>
            <a:ext cx="4343400" cy="48577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1000" y="1314450"/>
            <a:ext cx="3962400" cy="4857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91440" lvl="0"/>
            <a:r>
              <a:rPr lang="en-US" sz="2000" u="sng" dirty="0" smtClean="0">
                <a:solidFill>
                  <a:schemeClr val="tx1"/>
                </a:solidFill>
              </a:rPr>
              <a:t>Case Study</a:t>
            </a:r>
            <a:r>
              <a:rPr lang="en-US" sz="2000" dirty="0" smtClean="0">
                <a:solidFill>
                  <a:schemeClr val="tx1"/>
                </a:solidFill>
              </a:rPr>
              <a:t>: Blue Hill Ave. &amp; Warren St. Traffic Signal Improvement Project</a:t>
            </a:r>
          </a:p>
          <a:p>
            <a:pPr marL="91440" lvl="0"/>
            <a:endParaRPr lang="en-US" b="1" dirty="0">
              <a:solidFill>
                <a:schemeClr val="tx1"/>
              </a:solidFill>
            </a:endParaRPr>
          </a:p>
          <a:p>
            <a:pPr marL="36576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Joint Highway/BTD initiative to rebuild 16 intersections, including new traffic signals by 2019 </a:t>
            </a:r>
            <a:endParaRPr lang="en-US" dirty="0">
              <a:solidFill>
                <a:schemeClr val="tx1"/>
              </a:solidFill>
            </a:endParaRPr>
          </a:p>
          <a:p>
            <a:pPr marL="365760" lvl="0" indent="-285750">
              <a:buFont typeface="Wingdings" panose="05000000000000000000" pitchFamily="2" charset="2"/>
              <a:buChar char="Ø"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65760" lvl="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MBTA is working to ensure that TSP is included in the project during design.</a:t>
            </a:r>
          </a:p>
          <a:p>
            <a:pPr marL="365760" lvl="0" indent="-342900">
              <a:buFont typeface="Wingdings" panose="05000000000000000000" pitchFamily="2" charset="2"/>
              <a:buChar char="Ø"/>
            </a:pPr>
            <a:endParaRPr lang="en-US" sz="2400" b="1" dirty="0">
              <a:solidFill>
                <a:schemeClr val="tx1"/>
              </a:solidFill>
            </a:endParaRPr>
          </a:p>
          <a:p>
            <a:pPr marL="36576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Touching on bus </a:t>
            </a:r>
            <a:r>
              <a:rPr lang="en-US" dirty="0">
                <a:solidFill>
                  <a:schemeClr val="tx1"/>
                </a:solidFill>
              </a:rPr>
              <a:t>routes 14, 19, 23, 28, 29, </a:t>
            </a:r>
            <a:r>
              <a:rPr lang="en-US" dirty="0" smtClean="0">
                <a:solidFill>
                  <a:schemeClr val="tx1"/>
                </a:solidFill>
              </a:rPr>
              <a:t>44</a:t>
            </a:r>
            <a:endParaRPr lang="en-US" sz="24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185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55"/>
          <a:stretch/>
        </p:blipFill>
        <p:spPr>
          <a:xfrm>
            <a:off x="-1" y="0"/>
            <a:ext cx="9144001" cy="71628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0"/>
            <a:ext cx="9178834" cy="7162800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3427355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solidFill>
                  <a:schemeClr val="bg1"/>
                </a:solidFill>
              </a:rPr>
              <a:t>Thank you!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6642556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4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5"/>
              </a:rPr>
              <a:t>Pi.1415926535</a:t>
            </a:r>
            <a:r>
              <a:rPr lang="en-US" sz="600" dirty="0" smtClean="0"/>
              <a:t> licensed under </a:t>
            </a:r>
            <a:r>
              <a:rPr lang="en-US" sz="600" dirty="0">
                <a:hlinkClick r:id="rId6"/>
              </a:rPr>
              <a:t>CC BY-SA 3.0</a:t>
            </a:r>
            <a:endParaRPr lang="en-US" sz="600" b="1" u="sng" dirty="0"/>
          </a:p>
        </p:txBody>
      </p:sp>
    </p:spTree>
    <p:extLst>
      <p:ext uri="{BB962C8B-B14F-4D97-AF65-F5344CB8AC3E}">
        <p14:creationId xmlns:p14="http://schemas.microsoft.com/office/powerpoint/2010/main" val="2874826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685800" y="3427355"/>
            <a:ext cx="7924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u="sng" dirty="0" smtClean="0">
                <a:solidFill>
                  <a:schemeClr val="bg1"/>
                </a:solidFill>
                <a:latin typeface="+mj-lt"/>
              </a:rPr>
              <a:t>Service Delivery Con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/>
              <a:t>Image Source: </a:t>
            </a:r>
            <a:r>
              <a:rPr lang="en-US" sz="600" dirty="0" smtClean="0"/>
              <a:t>@</a:t>
            </a:r>
            <a:r>
              <a:rPr lang="en-US" sz="600" dirty="0" err="1" smtClean="0"/>
              <a:t>milesontheMBTA</a:t>
            </a:r>
            <a:endParaRPr lang="en-US" sz="600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8822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2686" y="797900"/>
            <a:ext cx="7751547" cy="466344"/>
          </a:xfrm>
        </p:spPr>
        <p:txBody>
          <a:bodyPr lIns="73298" tIns="36649" rIns="73298" bIns="36649" anchor="ctr"/>
          <a:lstStyle/>
          <a:p>
            <a:pPr>
              <a:lnSpc>
                <a:spcPct val="100000"/>
              </a:lnSpc>
            </a:pPr>
            <a:r>
              <a:rPr lang="en-US" sz="2400" b="0" dirty="0" smtClean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TSP in Service Delivery Context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57200" y="1981200"/>
            <a:ext cx="2971800" cy="3723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32" tIns="45716" rIns="91432" bIns="45716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Optimal service delivery means trains/buses arrive within their scheduled headway, and with enough space for all passengers to board. </a:t>
            </a:r>
          </a:p>
        </p:txBody>
      </p:sp>
      <p:graphicFrame>
        <p:nvGraphicFramePr>
          <p:cNvPr id="45" name="Diagram 44"/>
          <p:cNvGraphicFramePr/>
          <p:nvPr>
            <p:extLst>
              <p:ext uri="{D42A27DB-BD31-4B8C-83A1-F6EECF244321}">
                <p14:modId xmlns:p14="http://schemas.microsoft.com/office/powerpoint/2010/main" val="65628559"/>
              </p:ext>
            </p:extLst>
          </p:nvPr>
        </p:nvGraphicFramePr>
        <p:xfrm>
          <a:off x="2590800" y="1371600"/>
          <a:ext cx="6440061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 Placeholder 3"/>
          <p:cNvSpPr txBox="1">
            <a:spLocks/>
          </p:cNvSpPr>
          <p:nvPr/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Transit Signal Priority</a:t>
            </a:r>
            <a:endParaRPr lang="en-US" sz="11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6705600" y="2772719"/>
            <a:ext cx="2325261" cy="118968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195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447800"/>
            <a:ext cx="8458200" cy="487277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TSP: A Tactical Tool</a:t>
            </a:r>
            <a:endParaRPr lang="en-US" sz="2400" b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/>
              <a:t>Transit Signal Priority</a:t>
            </a:r>
          </a:p>
        </p:txBody>
      </p:sp>
      <p:sp>
        <p:nvSpPr>
          <p:cNvPr id="15" name="Oval 14"/>
          <p:cNvSpPr/>
          <p:nvPr/>
        </p:nvSpPr>
        <p:spPr>
          <a:xfrm>
            <a:off x="457200" y="3429000"/>
            <a:ext cx="4114800" cy="1828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55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/>
              <a:t>Image Source: </a:t>
            </a:r>
            <a:r>
              <a:rPr lang="en-US" sz="600" dirty="0" smtClean="0"/>
              <a:t>@</a:t>
            </a:r>
            <a:r>
              <a:rPr lang="en-US" sz="600" dirty="0" err="1" smtClean="0"/>
              <a:t>milesontheMBTA</a:t>
            </a:r>
            <a:endParaRPr lang="en-US" sz="600" b="1" u="sng" dirty="0" smtClean="0"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5800" y="3427355"/>
            <a:ext cx="7924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u="sng" dirty="0" smtClean="0">
                <a:solidFill>
                  <a:schemeClr val="bg1"/>
                </a:solidFill>
                <a:latin typeface="+mj-lt"/>
              </a:rPr>
              <a:t>About TSP</a:t>
            </a:r>
          </a:p>
        </p:txBody>
      </p:sp>
    </p:spTree>
    <p:extLst>
      <p:ext uri="{BB962C8B-B14F-4D97-AF65-F5344CB8AC3E}">
        <p14:creationId xmlns:p14="http://schemas.microsoft.com/office/powerpoint/2010/main" val="98822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What is TSP</a:t>
            </a:r>
            <a:r>
              <a:rPr lang="en-US" sz="2400" b="0" dirty="0"/>
              <a:t>?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Rectangle 9"/>
          <p:cNvSpPr/>
          <p:nvPr/>
        </p:nvSpPr>
        <p:spPr>
          <a:xfrm>
            <a:off x="462684" y="1394484"/>
            <a:ext cx="3880716" cy="4809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numCol="1" rtlCol="0" anchor="ctr"/>
          <a:lstStyle/>
          <a:p>
            <a:pPr marL="91440"/>
            <a:r>
              <a:rPr lang="en-US" sz="2000" dirty="0" smtClean="0">
                <a:solidFill>
                  <a:schemeClr val="tx1"/>
                </a:solidFill>
              </a:rPr>
              <a:t>TSP uses technology to reduce dwell time </a:t>
            </a:r>
            <a:r>
              <a:rPr lang="en-US" sz="2000" dirty="0">
                <a:solidFill>
                  <a:schemeClr val="tx1"/>
                </a:solidFill>
              </a:rPr>
              <a:t>for transit vehicles operating in mixed traffic </a:t>
            </a:r>
            <a:r>
              <a:rPr lang="en-US" sz="2000" dirty="0" smtClean="0">
                <a:solidFill>
                  <a:schemeClr val="tx1"/>
                </a:solidFill>
              </a:rPr>
              <a:t>by extending green-light-time, or shortening red-light-time. </a:t>
            </a:r>
            <a:r>
              <a:rPr lang="en-US" dirty="0" smtClean="0">
                <a:solidFill>
                  <a:schemeClr val="tx1"/>
                </a:solidFill>
              </a:rPr>
              <a:t/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 smtClean="0">
              <a:solidFill>
                <a:schemeClr val="tx1"/>
              </a:solidFill>
            </a:endParaRPr>
          </a:p>
          <a:p>
            <a:pPr marL="91440"/>
            <a:endParaRPr lang="en-US" sz="1200" dirty="0" smtClean="0">
              <a:solidFill>
                <a:schemeClr val="tx1"/>
              </a:solidFill>
            </a:endParaRPr>
          </a:p>
          <a:p>
            <a:pPr marL="91440">
              <a:lnSpc>
                <a:spcPct val="150000"/>
              </a:lnSpc>
            </a:pPr>
            <a:r>
              <a:rPr lang="en-US" sz="2000" dirty="0">
                <a:solidFill>
                  <a:schemeClr val="tx1"/>
                </a:solidFill>
              </a:rPr>
              <a:t>TSP helps:</a:t>
            </a:r>
          </a:p>
          <a:p>
            <a:pPr marL="65151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Improve </a:t>
            </a:r>
            <a:r>
              <a:rPr lang="en-US" dirty="0">
                <a:solidFill>
                  <a:schemeClr val="tx1"/>
                </a:solidFill>
              </a:rPr>
              <a:t>reliability</a:t>
            </a:r>
          </a:p>
          <a:p>
            <a:pPr marL="65151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Reduce </a:t>
            </a:r>
            <a:r>
              <a:rPr lang="en-US" dirty="0">
                <a:solidFill>
                  <a:schemeClr val="tx1"/>
                </a:solidFill>
              </a:rPr>
              <a:t>travel time</a:t>
            </a:r>
          </a:p>
          <a:p>
            <a:pPr marL="65151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Increase </a:t>
            </a:r>
            <a:r>
              <a:rPr lang="en-US" dirty="0">
                <a:solidFill>
                  <a:schemeClr val="tx1"/>
                </a:solidFill>
              </a:rPr>
              <a:t>network capacity</a:t>
            </a:r>
          </a:p>
          <a:p>
            <a:pPr marL="65151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chemeClr val="tx1"/>
                </a:solidFill>
              </a:rPr>
              <a:t>Enhance OTP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/>
              </a:rPr>
              <a:t>Image</a:t>
            </a:r>
            <a:r>
              <a:rPr lang="en-US" sz="600" dirty="0" smtClean="0">
                <a:hlinkClick r:id="rId4"/>
              </a:rPr>
              <a:t>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5"/>
              </a:rPr>
              <a:t>Grk 1011</a:t>
            </a:r>
            <a:r>
              <a:rPr lang="en-US" sz="600" dirty="0" smtClean="0"/>
              <a:t> licensed under </a:t>
            </a:r>
            <a:r>
              <a:rPr lang="en-US" sz="600" dirty="0">
                <a:hlinkClick r:id="rId6"/>
              </a:rPr>
              <a:t>CC BY-SA </a:t>
            </a:r>
            <a:r>
              <a:rPr lang="en-US" sz="600" dirty="0" smtClean="0">
                <a:hlinkClick r:id="rId6"/>
              </a:rPr>
              <a:t>3.0</a:t>
            </a:r>
            <a:endParaRPr lang="en-US" sz="600" b="1" u="sng" dirty="0" smtClean="0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42" r="17954"/>
          <a:stretch/>
        </p:blipFill>
        <p:spPr>
          <a:xfrm>
            <a:off x="4343400" y="1394484"/>
            <a:ext cx="4425696" cy="4791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76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 smtClean="0"/>
              <a:t>MBTA TSP Communications Scheme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4" name="TextBox 3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/>
              <a:t>Image Source: </a:t>
            </a:r>
            <a:r>
              <a:rPr lang="en-US" sz="600" dirty="0" smtClean="0"/>
              <a:t>IBI Group</a:t>
            </a:r>
            <a:endParaRPr lang="en-US" sz="600" b="1" u="sng" dirty="0" smtClean="0">
              <a:latin typeface="+mj-lt"/>
            </a:endParaRPr>
          </a:p>
        </p:txBody>
      </p: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600200"/>
            <a:ext cx="84582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829056"/>
            <a:ext cx="7751547" cy="466344"/>
          </a:xfrm>
        </p:spPr>
        <p:txBody>
          <a:bodyPr/>
          <a:lstStyle/>
          <a:p>
            <a:r>
              <a:rPr lang="en-US" sz="2400" b="0" dirty="0" smtClean="0"/>
              <a:t>MBTA Requirements for TSP Implementation</a:t>
            </a:r>
            <a:endParaRPr lang="en-US" sz="2400" b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0" dirty="0" smtClean="0"/>
              <a:t>Transit Signal Priority</a:t>
            </a:r>
            <a:endParaRPr lang="en-US" b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673334"/>
            <a:ext cx="9144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600" dirty="0" smtClean="0">
                <a:hlinkClick r:id="rId3"/>
              </a:rPr>
              <a:t>Image </a:t>
            </a:r>
            <a:r>
              <a:rPr lang="en-US" sz="600" dirty="0" smtClean="0"/>
              <a:t>by </a:t>
            </a:r>
            <a:r>
              <a:rPr lang="en-US" sz="600" dirty="0" smtClean="0">
                <a:hlinkClick r:id="rId4"/>
              </a:rPr>
              <a:t>Grk 1011</a:t>
            </a:r>
            <a:r>
              <a:rPr lang="en-US" sz="600" dirty="0" smtClean="0"/>
              <a:t> licensed under </a:t>
            </a:r>
            <a:r>
              <a:rPr lang="en-US" sz="600" dirty="0" smtClean="0">
                <a:hlinkClick r:id="rId5"/>
              </a:rPr>
              <a:t>CC BY-SA 3.0</a:t>
            </a:r>
            <a:endParaRPr lang="en-US" sz="600" b="1" u="sng" dirty="0" smtClean="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1000" y="1442498"/>
            <a:ext cx="3505200" cy="4738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65760" bIns="0" numCol="1" rtlCol="0" anchor="ctr"/>
          <a:lstStyle/>
          <a:p>
            <a:pPr marL="36576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Municipal partnership</a:t>
            </a:r>
            <a:endParaRPr lang="en-US" sz="2000" dirty="0">
              <a:solidFill>
                <a:schemeClr val="tx1"/>
              </a:solidFill>
            </a:endParaRPr>
          </a:p>
          <a:p>
            <a:pPr marL="365760" lvl="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100" dirty="0">
              <a:solidFill>
                <a:schemeClr val="tx1"/>
              </a:solidFill>
            </a:endParaRPr>
          </a:p>
          <a:p>
            <a:pPr marL="365760" lvl="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Availability </a:t>
            </a:r>
            <a:r>
              <a:rPr lang="en-US" sz="2000" dirty="0">
                <a:solidFill>
                  <a:schemeClr val="tx1"/>
                </a:solidFill>
              </a:rPr>
              <a:t>of </a:t>
            </a:r>
            <a:r>
              <a:rPr lang="en-US" sz="2000" dirty="0" smtClean="0">
                <a:solidFill>
                  <a:schemeClr val="tx1"/>
                </a:solidFill>
              </a:rPr>
              <a:t>green/red-light-time </a:t>
            </a:r>
            <a:r>
              <a:rPr lang="en-US" sz="2000" dirty="0">
                <a:solidFill>
                  <a:schemeClr val="tx1"/>
                </a:solidFill>
              </a:rPr>
              <a:t>to </a:t>
            </a:r>
            <a:r>
              <a:rPr lang="en-US" sz="2000" dirty="0" smtClean="0">
                <a:solidFill>
                  <a:schemeClr val="tx1"/>
                </a:solidFill>
              </a:rPr>
              <a:t>“borrow”</a:t>
            </a:r>
            <a:endParaRPr lang="en-US" sz="2000" dirty="0">
              <a:solidFill>
                <a:schemeClr val="tx1"/>
              </a:solidFill>
            </a:endParaRPr>
          </a:p>
          <a:p>
            <a:pPr marL="36576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100" dirty="0">
              <a:solidFill>
                <a:schemeClr val="tx1"/>
              </a:solidFill>
            </a:endParaRPr>
          </a:p>
          <a:p>
            <a:pPr marL="36576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Modern </a:t>
            </a:r>
            <a:r>
              <a:rPr lang="en-US" sz="2000" dirty="0">
                <a:solidFill>
                  <a:schemeClr val="tx1"/>
                </a:solidFill>
              </a:rPr>
              <a:t>traffic control device </a:t>
            </a:r>
            <a:r>
              <a:rPr lang="en-US" sz="2000" dirty="0" smtClean="0">
                <a:solidFill>
                  <a:schemeClr val="tx1"/>
                </a:solidFill>
              </a:rPr>
              <a:t>with space for </a:t>
            </a:r>
            <a:r>
              <a:rPr lang="en-US" sz="2000" dirty="0">
                <a:solidFill>
                  <a:schemeClr val="tx1"/>
                </a:solidFill>
              </a:rPr>
              <a:t>additional </a:t>
            </a:r>
            <a:r>
              <a:rPr lang="en-US" sz="2000" dirty="0" smtClean="0">
                <a:solidFill>
                  <a:schemeClr val="tx1"/>
                </a:solidFill>
              </a:rPr>
              <a:t>hardware</a:t>
            </a:r>
            <a:endParaRPr lang="en-US" sz="2000" dirty="0">
              <a:solidFill>
                <a:schemeClr val="tx1"/>
              </a:solidFill>
            </a:endParaRPr>
          </a:p>
          <a:p>
            <a:pPr marL="36576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100" dirty="0">
              <a:solidFill>
                <a:schemeClr val="tx1"/>
              </a:solidFill>
            </a:endParaRPr>
          </a:p>
          <a:p>
            <a:pPr marL="365760" indent="-285750"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</a:rPr>
              <a:t>Far side or no </a:t>
            </a:r>
            <a:r>
              <a:rPr lang="en-US" sz="2000" dirty="0" smtClean="0">
                <a:solidFill>
                  <a:schemeClr val="tx1"/>
                </a:solidFill>
              </a:rPr>
              <a:t>stop at intersection</a:t>
            </a:r>
          </a:p>
          <a:p>
            <a:pPr marL="36576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100" dirty="0">
              <a:solidFill>
                <a:schemeClr val="tx1"/>
              </a:solidFill>
            </a:endParaRPr>
          </a:p>
          <a:p>
            <a:pPr marL="365760" indent="-285750"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chemeClr val="tx1"/>
                </a:solidFill>
              </a:rPr>
              <a:t>Applicable </a:t>
            </a:r>
            <a:r>
              <a:rPr lang="en-US" sz="2000" dirty="0">
                <a:solidFill>
                  <a:schemeClr val="tx1"/>
                </a:solidFill>
              </a:rPr>
              <a:t>to bus and light rail (surface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1" r="12424"/>
          <a:stretch/>
        </p:blipFill>
        <p:spPr>
          <a:xfrm>
            <a:off x="3962400" y="1442497"/>
            <a:ext cx="4800600" cy="4738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14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17260</TotalTime>
  <Words>1090</Words>
  <Application>Microsoft Macintosh PowerPoint</Application>
  <PresentationFormat>On-screen Show (4:3)</PresentationFormat>
  <Paragraphs>271</Paragraphs>
  <Slides>28</Slides>
  <Notes>27</Notes>
  <HiddenSlides>0</HiddenSlides>
  <MMClips>1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Arial</vt:lpstr>
      <vt:lpstr>Calibri</vt:lpstr>
      <vt:lpstr>Times New Roman</vt:lpstr>
      <vt:lpstr>Verdana</vt:lpstr>
      <vt:lpstr>Wingdings</vt:lpstr>
      <vt:lpstr>MBTA Default Template</vt:lpstr>
      <vt:lpstr>Transit Signal Priority (TSP)</vt:lpstr>
      <vt:lpstr>Overview</vt:lpstr>
      <vt:lpstr>PowerPoint Presentation</vt:lpstr>
      <vt:lpstr>TSP in Service Delivery Context</vt:lpstr>
      <vt:lpstr>TSP: A Tactical Tool</vt:lpstr>
      <vt:lpstr>PowerPoint Presentation</vt:lpstr>
      <vt:lpstr>What is TSP?</vt:lpstr>
      <vt:lpstr>MBTA TSP Communications Scheme</vt:lpstr>
      <vt:lpstr>MBTA Requirements for TSP Implementation</vt:lpstr>
      <vt:lpstr>PowerPoint Presentation</vt:lpstr>
      <vt:lpstr>MBTA TSP Pilot Strategy</vt:lpstr>
      <vt:lpstr>TSP Signal Pilot Goals</vt:lpstr>
      <vt:lpstr>PowerPoint Presentation</vt:lpstr>
      <vt:lpstr>TSP Signal Pilot Summary</vt:lpstr>
      <vt:lpstr>Signal Pilot Results – Green Line B &amp; E Branches</vt:lpstr>
      <vt:lpstr>Signal Pilot Results –Green Line C Branch</vt:lpstr>
      <vt:lpstr>Signal Pilot Results – Bus Routes 1 &amp; CT1 (Video)</vt:lpstr>
      <vt:lpstr>Signal Pilot Results – Lessons Learned</vt:lpstr>
      <vt:lpstr>PowerPoint Presentation</vt:lpstr>
      <vt:lpstr>Four TSP Corridor Pilots Proposed</vt:lpstr>
      <vt:lpstr>Proposed Green Line Pilot Corridors</vt:lpstr>
      <vt:lpstr>Proposed Bus Pilot Corridor</vt:lpstr>
      <vt:lpstr>Estimated Cost for Proposed Corridor Pilots</vt:lpstr>
      <vt:lpstr>PowerPoint Presentation</vt:lpstr>
      <vt:lpstr>Post-Pilot TSP Roll Out Strategy</vt:lpstr>
      <vt:lpstr>Roll Out: High Ridership &amp; High Delay TSP Corridors</vt:lpstr>
      <vt:lpstr>Roll Out: Piggybacking on Existing Projects</vt:lpstr>
      <vt:lpstr>PowerPoint Presentation</vt:lpstr>
    </vt:vector>
  </TitlesOfParts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Siddiqui, Aayesha</cp:lastModifiedBy>
  <cp:revision>648</cp:revision>
  <cp:lastPrinted>2017-10-23T13:48:35Z</cp:lastPrinted>
  <dcterms:created xsi:type="dcterms:W3CDTF">2016-04-11T13:25:01Z</dcterms:created>
  <dcterms:modified xsi:type="dcterms:W3CDTF">2017-10-23T21:17:07Z</dcterms:modified>
</cp:coreProperties>
</file>